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3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4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5.xml" ContentType="application/vnd.openxmlformats-officedocument.them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6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7.xml" ContentType="application/vnd.openxmlformats-officedocument.theme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8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9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3" r:id="rId1"/>
    <p:sldMasterId id="2147483686" r:id="rId2"/>
    <p:sldMasterId id="2147483712" r:id="rId3"/>
    <p:sldMasterId id="2147483740" r:id="rId4"/>
    <p:sldMasterId id="2147483773" r:id="rId5"/>
    <p:sldMasterId id="2147483806" r:id="rId6"/>
    <p:sldMasterId id="2147483841" r:id="rId7"/>
    <p:sldMasterId id="2147483874" r:id="rId8"/>
    <p:sldMasterId id="2147483893" r:id="rId9"/>
    <p:sldMasterId id="2147483912" r:id="rId10"/>
  </p:sldMasterIdLst>
  <p:notesMasterIdLst>
    <p:notesMasterId r:id="rId12"/>
  </p:notesMasterIdLst>
  <p:sldIdLst>
    <p:sldId id="310" r:id="rId11"/>
  </p:sldIdLst>
  <p:sldSz cx="12188825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728">
          <p15:clr>
            <a:srgbClr val="A4A3A4"/>
          </p15:clr>
        </p15:guide>
        <p15:guide id="2" pos="3839">
          <p15:clr>
            <a:srgbClr val="A4A3A4"/>
          </p15:clr>
        </p15:guide>
        <p15:guide id="3" pos="95">
          <p15:clr>
            <a:srgbClr val="A4A3A4"/>
          </p15:clr>
        </p15:guide>
        <p15:guide id="4" pos="7343">
          <p15:clr>
            <a:srgbClr val="A4A3A4"/>
          </p15:clr>
        </p15:guide>
        <p15:guide id="5" orient="horz" pos="1104">
          <p15:clr>
            <a:srgbClr val="A4A3A4"/>
          </p15:clr>
        </p15:guide>
        <p15:guide id="6" orient="horz" pos="3984">
          <p15:clr>
            <a:srgbClr val="A4A3A4"/>
          </p15:clr>
        </p15:guide>
      </p15:sld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67" roundtripDataSignature="AMtx7mgkvQKd+ywVYj6TFeHSoH1In+D17g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bhishek Memani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67FF"/>
    <a:srgbClr val="0032A0"/>
    <a:srgbClr val="0039CE"/>
    <a:srgbClr val="84BBFF"/>
    <a:srgbClr val="305496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0"/>
    <p:restoredTop sz="94343" autoAdjust="0"/>
  </p:normalViewPr>
  <p:slideViewPr>
    <p:cSldViewPr snapToGrid="0">
      <p:cViewPr varScale="1">
        <p:scale>
          <a:sx n="63" d="100"/>
          <a:sy n="63" d="100"/>
        </p:scale>
        <p:origin x="780" y="56"/>
      </p:cViewPr>
      <p:guideLst>
        <p:guide orient="horz" pos="1728"/>
        <p:guide pos="3839"/>
        <p:guide pos="95"/>
        <p:guide pos="7343"/>
        <p:guide orient="horz" pos="1104"/>
        <p:guide orient="horz" pos="398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72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68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notesMaster" Target="notesMasters/notesMaster1.xml"/><Relationship Id="rId67" Type="http://customschemas.google.com/relationships/presentationmetadata" Target="metadata"/><Relationship Id="rId71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7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0" Type="http://schemas.openxmlformats.org/officeDocument/2006/relationships/slideMaster" Target="slideMasters/slideMaster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6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47131019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.bin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8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9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40.png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0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0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.bin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4BA977D-F01B-45A3-A788-241A0D7E09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935981"/>
            <a:ext cx="12188825" cy="9220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B63AD2-13B3-4C1A-81A7-6B8DAA7875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609442" y="512064"/>
            <a:ext cx="3180378" cy="6827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09441" y="2255520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tx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2D38650-2189-4A4F-AD30-9C41C4094C5F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9926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7380334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C60974-838A-40CC-8A5B-B6116CA4D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893F35-2FAA-43E7-B4AD-DAFD3780020E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E2370C-3F6B-42C0-8834-DB3406097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C5B230-74A0-418F-BBA9-0B141D8CA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C70E20-6501-4F77-9CBC-3806310ED989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DDA0DA6-E3B0-4903-A9B6-BBC566D4D7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80666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vanc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C81C643-B400-4457-BA76-DC5CEB304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31449" cy="6858000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677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56" indent="-308956">
              <a:buNone/>
              <a:defRPr sz="5865">
                <a:solidFill>
                  <a:schemeClr val="tx1"/>
                </a:solidFill>
              </a:defRPr>
            </a:lvl2pPr>
            <a:lvl3pPr marL="304724" indent="-304724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6pPr>
            <a:lvl7pPr marL="0" indent="0">
              <a:buClrTx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313295" y="6400800"/>
            <a:ext cx="121888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6F2A938-361F-4F67-8BCD-4248013A871E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986777" y="6400800"/>
            <a:ext cx="609441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white"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1986777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20ADF0C-4BBB-45C4-865D-6FA4EAC379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13956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56" indent="-308956">
              <a:buNone/>
              <a:defRPr sz="5865">
                <a:solidFill>
                  <a:schemeClr val="tx1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2216AA-C246-4BF8-9778-027A671AE05C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518" y="6400800"/>
            <a:ext cx="609441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63F996-94D9-4E07-B4CD-3CF1568075B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40494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/ 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bg1"/>
                </a:solidFill>
              </a:defRPr>
            </a:lvl1pPr>
            <a:lvl2pPr marL="308956" indent="-308956">
              <a:buNone/>
              <a:defRPr sz="5865">
                <a:solidFill>
                  <a:schemeClr val="bg1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2951C51-9575-4E82-9944-2A080A1D1416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518" y="6400800"/>
            <a:ext cx="6094413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0A6E3-DE2F-40B3-955E-42C3550BD2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831860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E48B4-F4ED-4DA0-AE35-136D1133A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65DC66A-BAB7-4355-9ED4-0CA743C61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E7440-A164-4BE7-A683-1DC89B30E10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E53A72-E1D6-4692-98EC-6243614B7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049D8E0-67E3-4D7E-847C-95CFA1F84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E5CE040-C0D3-40BD-8063-A2DF101E8B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68766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5A1AF48-9BFD-46FF-86A7-B55749512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1" y="365760"/>
            <a:ext cx="11173672" cy="1060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0A9DCA-C8FA-4C09-B99A-DC34A0B429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8644D50-66B5-4F98-BB65-0462948F36D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E9C752-D058-463B-9E84-F0D0FB1AA2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D1AAD6-6BF9-44BD-8B5E-441D9E17EC6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E2704D-D973-44F5-AFE3-5458B42961F6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9E830F-3EEF-43CF-8DA5-7C9FAB97A0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42906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9723C8-B7B3-4950-BDEC-A8C820F2E9F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92C196-58BA-4F0F-83A6-F3DD888CADD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67F4B0-9013-4E9E-9C02-E80308C894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CF68D0-3D52-4AAE-BAD5-E685A44EC4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AC0B7B8-5D2E-4DC2-8ED6-129DC4E412E4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555C70-7666-4B1C-BD96-58FC37C94F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353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" y="4267200"/>
            <a:ext cx="12188824" cy="18288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A6472576-AA86-442F-942A-4D33C4E2B31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1930" y="365760"/>
            <a:ext cx="11177153" cy="365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071916-F690-4209-B46C-EC1B2FCDBE7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04306A5D-4C19-4CEA-B7B4-5CF5FBCE4B8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82348C-75B0-4FAD-B938-374E4C3CF7C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C8C4C5-03BD-4CB4-9145-5AD4CD061F5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0861592-E564-44B4-A852-0D4E56011C1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2063E46-1CE4-4B18-8360-8C206F79FA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55175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D9B5BD-B7AB-4911-895E-9E202985C1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DB0EFEF-BBC8-473D-9AE1-F3955CF8ED7D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C5353D-C3F0-4610-AC96-51E1C3E245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981F65-3889-43EC-925C-AE198E6C39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BA89284-C4DA-40FB-8673-D09F327E1187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E404F8E-3569-4CB7-9779-AC1B195FD6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77199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24000"/>
            <a:ext cx="12188825" cy="4572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701FDA-857B-4B97-A1E3-A1B888D9C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1" y="365760"/>
            <a:ext cx="11173672" cy="1060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6CC38F-9F2A-422F-979B-8828A725FA8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53C89F2-7833-484F-A65C-662F6D68DDD3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87D2D-86BD-4F81-ABB2-617104A445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DFD90-6BB1-437F-9F87-F0EE11D6B0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6E7E8EB-BBE8-401F-8C15-7A754DD1C2CB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82F5B8BF-A1CE-42CC-ACF4-0A5192FDE5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82178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2"/>
            <a:ext cx="5484971" cy="573023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Media Placeholder 15">
            <a:extLst>
              <a:ext uri="{FF2B5EF4-FFF2-40B4-BE49-F238E27FC236}">
                <a16:creationId xmlns:a16="http://schemas.microsoft.com/office/drawing/2014/main" id="{CEB5CA12-0E7C-45C9-92C9-E64DA006575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5996902" cy="6096000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9F91859-85A6-4652-BB50-DE18F40DAE1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2891E91-9488-4616-A4E9-562C551F1C2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99760E2-6197-4679-A293-2A1317EFAB4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F677D8-5DFC-45CA-854E-7E2FDF7D479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6A4D1D-419D-453A-9A35-9EF2960602A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AA30451-9D03-4FA5-AF5E-920706E8ED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2623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69CF19-0589-4E7F-87F9-FC7CAC6AC6D8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204451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2A1A39-C278-49C1-98BD-03DFB86ACBB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842D52C-3CA5-4C1F-B4EA-6C668C28FEA4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A52B1C-E724-479F-B20E-0E459E80FD0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78CA9C-FCAF-4B99-B5F6-60AF3219B3B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DCFE254-800B-4596-8FBC-3984CE5AE78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304A10A-1409-4F5A-9F54-EB802809A8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90596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0"/>
            <a:ext cx="5484971" cy="57302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E3F330-9F76-4B2D-936C-BA16606110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5997071" cy="6096000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C1D49F-49AB-492E-AADA-3FDC394DFDF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3F262AA-DEDE-48CB-AC20-EF8642D85293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87AAB2-79C4-4D8A-B367-D69C5CB9771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0EC04C-1500-45F6-8042-1CE988757A4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92DAA9B-CFA7-4AA1-B116-CD98263A729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3F9A740-E5A2-4D3A-836A-46E192FC21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77500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7968"/>
            <a:ext cx="12174665" cy="68500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6651" y="2438400"/>
            <a:ext cx="10360501" cy="438912"/>
          </a:xfrm>
        </p:spPr>
        <p:txBody>
          <a:bodyPr anchor="b" anchorCtr="0">
            <a:noAutofit/>
          </a:bodyPr>
          <a:lstStyle>
            <a:lvl1pPr>
              <a:defRPr sz="426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6651" y="3255264"/>
            <a:ext cx="10360501" cy="841248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666">
                <a:solidFill>
                  <a:schemeClr val="tx1"/>
                </a:solidFill>
              </a:defRPr>
            </a:lvl1pPr>
            <a:lvl2pPr marL="0" indent="0">
              <a:buNone/>
              <a:defRPr sz="2666">
                <a:solidFill>
                  <a:schemeClr val="tx1"/>
                </a:solidFill>
              </a:defRPr>
            </a:lvl2pPr>
            <a:lvl3pPr marL="0" indent="0">
              <a:buNone/>
              <a:defRPr sz="2666">
                <a:solidFill>
                  <a:schemeClr val="tx1"/>
                </a:solidFill>
              </a:defRPr>
            </a:lvl3pPr>
            <a:lvl4pPr marL="0" indent="0">
              <a:buNone/>
              <a:defRPr sz="2666">
                <a:solidFill>
                  <a:schemeClr val="tx1"/>
                </a:solidFill>
              </a:defRPr>
            </a:lvl4pPr>
            <a:lvl5pPr marL="0" indent="0">
              <a:buNone/>
              <a:defRPr sz="2666">
                <a:solidFill>
                  <a:schemeClr val="tx1"/>
                </a:solidFill>
              </a:defRPr>
            </a:lvl5pPr>
            <a:lvl6pPr marL="0" indent="0">
              <a:buNone/>
              <a:defRPr sz="2666">
                <a:solidFill>
                  <a:schemeClr val="tx1"/>
                </a:solidFill>
              </a:defRPr>
            </a:lvl6pPr>
            <a:lvl7pPr marL="0" indent="0">
              <a:buNone/>
              <a:defRPr sz="2666">
                <a:solidFill>
                  <a:schemeClr val="tx1"/>
                </a:solidFill>
              </a:defRPr>
            </a:lvl7pPr>
            <a:lvl8pPr marL="0" indent="0">
              <a:buNone/>
              <a:defRPr sz="2666">
                <a:solidFill>
                  <a:schemeClr val="tx1"/>
                </a:solidFill>
              </a:defRPr>
            </a:lvl8pPr>
            <a:lvl9pPr marL="0" indent="0">
              <a:buNone/>
              <a:defRPr sz="2666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Email (optional)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782957" y="-1296364"/>
            <a:ext cx="184731" cy="379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66" dirty="0" err="1">
              <a:solidFill>
                <a:schemeClr val="tx2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 userDrawn="1"/>
        </p:nvCxnSpPr>
        <p:spPr>
          <a:xfrm>
            <a:off x="814638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8390744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25224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4BA977D-F01B-45A3-A788-241A0D7E09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935981"/>
            <a:ext cx="12188825" cy="9220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B63AD2-13B3-4C1A-81A7-6B8DAA7875C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609442" y="512064"/>
            <a:ext cx="3180378" cy="6827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09441" y="2255520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tx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2D38650-2189-4A4F-AD30-9C41C4094C5F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753626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5F1FCDD-9A69-4405-B89F-CFDAF1874A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88825" cy="68681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6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17380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6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98296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icture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2BD88AD-BF9F-4A95-ACE0-0665F32F8DF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6774" y="1682496"/>
            <a:ext cx="685418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58" indent="-37785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marL="609448" lvl="1" indent="-609448">
              <a:buNone/>
            </a:pPr>
            <a:endParaRPr kumimoji="0" lang="en-US" sz="3732" b="0" i="0" u="none" strike="noStrike" kern="1200" cap="none" spc="0" normalizeH="0" baseline="0" noProof="0" dirty="0">
              <a:ln>
                <a:noFill/>
              </a:ln>
              <a:solidFill>
                <a:srgbClr val="0033B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A5CEAD-8DF7-4847-A3C5-A3EBD2E6DC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07868" y="1682495"/>
            <a:ext cx="3675693" cy="4425696"/>
          </a:xfrm>
          <a:noFill/>
        </p:spPr>
        <p:txBody>
          <a:bodyPr/>
          <a:lstStyle>
            <a:lvl1pPr marL="0" marR="0" indent="0" algn="l" defTabSz="609448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609448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CB4A54-5341-4A6F-9733-3D09E3B0E7F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6FE1-BD49-4DF7-BB00-A94B86041749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9F96F16-06EB-41EA-A547-8A5407FBCF4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CDF8484-6FCC-46A8-B1A4-B877ED71BD2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F8FABAD-01EF-483E-B2EF-403B57169C4D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42CD7C5-2D34-4C27-8DA0-D81A9530F1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8425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E686D16-B817-4FD7-91EF-E75DCEECBD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03805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58" indent="-37785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0FADBE-3030-4F6C-88B1-C1A6FD63B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B3731C5-DFAC-4D4E-959F-93B93103246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282AB7-CA5B-4BB2-9297-72F42A2F2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F0976E-13F2-445E-A5C4-28915A054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211AD09-EFF5-4259-BC1F-AFBAA6EE5437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5BD48D0-E8C8-4058-B322-A6DC8E33D7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43668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682496"/>
            <a:ext cx="11177153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B5921-13FC-4322-87C4-4DB758BA0A47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99267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1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7C4CB0-E1A6-4DBC-8C27-B432BF957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93FAD-A110-4D0D-BF6C-EE167223619A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9FAE45-F8BC-40F3-9164-D36C18C3F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3BC111-2740-46AF-A4EE-25875C41C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93776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7A35C2-C0F4-49D9-B722-67323A6F7FD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3AED819-68E9-4C82-9F88-87FDA99CDA3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8FFCDF-15C2-443A-9747-477B83B8CFC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063F49-35A6-44FE-8D1B-AF1E3728CAC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6EBED9-9EFE-447A-BEE0-FCC12D286A7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B87AFB02-A938-4E08-B29B-ED6F9D4431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1594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B5CE85F-2A75-4693-93B8-CBF7927F72B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04109" y="2987040"/>
            <a:ext cx="5484971" cy="3121152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33434-287A-47FC-8826-927D06662D6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8560DFC-A6CF-4FC3-8474-FACA8C8040F5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131ED2-2FB0-4787-9839-9D3116D30B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BA36B9-835B-4A55-994F-E64CDB64656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D11681F-8020-4D84-9273-264D5F39BDA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B1E49D76-A2A1-4E8C-8CF5-299D8A1F2A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58290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1/3,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7380334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31406E-2CA1-499E-A808-27B124490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64E4A-E694-4F54-A4D8-74459EC7FBEC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5E847-C84C-457F-B901-2EEB12AD94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C10D1C-F2EA-46B6-B35A-881C8F5C6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149C702-A52C-4836-AD09-FFA898A62A9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FD43C0D-A77C-4195-A4E0-023F5CDE94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53130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7380334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C60974-838A-40CC-8A5B-B6116CA4D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893F35-2FAA-43E7-B4AD-DAFD3780020E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E2370C-3F6B-42C0-8834-DB3406097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C5B230-74A0-418F-BBA9-0B141D8CA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C70E20-6501-4F77-9CBC-3806310ED989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DDA0DA6-E3B0-4903-A9B6-BBC566D4D7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93564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69CF19-0589-4E7F-87F9-FC7CAC6AC6D8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204451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2A1A39-C278-49C1-98BD-03DFB86ACBB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842D52C-3CA5-4C1F-B4EA-6C668C28FEA4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A52B1C-E724-479F-B20E-0E459E80FD0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78CA9C-FCAF-4B99-B5F6-60AF3219B3B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DCFE254-800B-4596-8FBC-3984CE5AE78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304A10A-1409-4F5A-9F54-EB802809A8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48607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B5CE85F-2A75-4693-93B8-CBF7927F72B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04109" y="2987040"/>
            <a:ext cx="5484971" cy="3121152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33434-287A-47FC-8826-927D06662D6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8560DFC-A6CF-4FC3-8474-FACA8C8040F5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131ED2-2FB0-4787-9839-9D3116D30B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BA36B9-835B-4A55-994F-E64CDB64656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D11681F-8020-4D84-9273-264D5F39BDA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B1E49D76-A2A1-4E8C-8CF5-299D8A1F2A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5673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09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1325C43-3F77-4CF9-8E6F-F5DB1CDCD7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11929" y="2987040"/>
            <a:ext cx="5484971" cy="3121152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33C2E1-148D-4C6B-A6B6-6408779530FF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BFC2F8F9-635E-44ED-B3A1-8140F0E9DA54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F894B6-9AEC-449F-97A3-25262205013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6B10EAF-6394-4900-AC77-D434D0DE4BE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C731D1-00A8-4565-A437-8595C7E6650E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7ECD6034-AE10-44AD-8FB1-7887B1710CE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49040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6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76679"/>
            <a:ext cx="3583515" cy="215798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0" y="4098770"/>
            <a:ext cx="3583515" cy="201167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14844" y="1676679"/>
            <a:ext cx="3583515" cy="215798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F3A29B0-716A-4C35-A013-3FAC88D7A80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314844" y="4096512"/>
            <a:ext cx="3583515" cy="201167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44F57E95-9B34-49D0-B2D5-56ED760D9CA1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05568" y="1682496"/>
            <a:ext cx="3583515" cy="215798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EF22231-FA42-42CF-AB2B-892F463A81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05568" y="4096512"/>
            <a:ext cx="3583515" cy="201168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366D76-6B79-48C4-8251-348E1555D51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7D08B945-A802-43B9-B6DA-6200C366EE5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B02B7B-0702-48E3-8554-1CD7C994F25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C8D6D6-7FF6-449D-9219-4E96EBA4FD1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9F1CC7F-1769-4309-B028-FCCD6DB279B4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402C49C4-4B74-4AA3-BB68-2300CD8650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38639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3ACF89-C07E-4F39-9ACF-C55F859B1B1D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8BD2276-8977-4766-9164-0C1C18520B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05883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CECC9D-0C67-48D4-9A1C-98C5944F0D6B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0A897C52-38E8-4C02-B11A-8278FD59AD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4112" y="1682495"/>
            <a:ext cx="5984713" cy="4425696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E6D374-812D-46BD-ACCF-706447B9BF2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45012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239C7-19E4-4769-A6C4-887621BCCE1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C20B5319-2B45-4252-BEAB-FDF0E14B7070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6204112" y="1682496"/>
            <a:ext cx="5984713" cy="44256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Insert Media he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8E423FB-65E5-44B7-A219-A6E67DC3F2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28356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7B8BDB-D6E8-4ABA-A6E3-740EBC2FB34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A665A60-4126-4C36-935C-5B20305506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4632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09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1325C43-3F77-4CF9-8E6F-F5DB1CDCD7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11929" y="2987040"/>
            <a:ext cx="5484971" cy="3121152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33C2E1-148D-4C6B-A6B6-6408779530FF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BFC2F8F9-635E-44ED-B3A1-8140F0E9DA54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F894B6-9AEC-449F-97A3-25262205013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6B10EAF-6394-4900-AC77-D434D0DE4BE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C731D1-00A8-4565-A437-8595C7E6650E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7ECD6034-AE10-44AD-8FB1-7887B1710C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935203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Picture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3732A3-306E-480E-A183-4093F0BA7DEA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791A77E-A9F3-439D-B41C-153F4D9DA6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682496"/>
            <a:ext cx="5996902" cy="442569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3101BBA-D0AC-40A0-823F-9602CC0602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3880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Media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58C28-6D82-4CDA-99BC-649955BB24B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7A841180-8D0B-4829-9826-A334842E6739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0" y="1682496"/>
            <a:ext cx="5996902" cy="4425696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0714AE5-4850-4466-8C9F-DD59FC000F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06640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vanc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C81C643-B400-4457-BA76-DC5CEB304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31449" cy="6858000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677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56" indent="-308956">
              <a:buNone/>
              <a:defRPr sz="5865">
                <a:solidFill>
                  <a:schemeClr val="tx1"/>
                </a:solidFill>
              </a:defRPr>
            </a:lvl2pPr>
            <a:lvl3pPr marL="304724" indent="-304724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6pPr>
            <a:lvl7pPr marL="0" indent="0">
              <a:buClrTx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313295" y="6400800"/>
            <a:ext cx="121888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C94624-3DA0-49E6-B632-003C396656D1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986777" y="6400800"/>
            <a:ext cx="609441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white"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1986777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20ADF0C-4BBB-45C4-865D-6FA4EAC379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3731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56" indent="-308956">
              <a:buNone/>
              <a:defRPr sz="5865">
                <a:solidFill>
                  <a:schemeClr val="tx1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585842-DBA6-46BB-B99E-ED1F2ADC75F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518" y="6400800"/>
            <a:ext cx="609441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63F996-94D9-4E07-B4CD-3CF1568075B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62888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/ 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bg1"/>
                </a:solidFill>
              </a:defRPr>
            </a:lvl1pPr>
            <a:lvl2pPr marL="308956" indent="-308956">
              <a:buNone/>
              <a:defRPr sz="5865">
                <a:solidFill>
                  <a:schemeClr val="bg1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025CC0-001A-43F5-9B57-46CE61769B5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518" y="6400800"/>
            <a:ext cx="6094413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0A6E3-DE2F-40B3-955E-42C3550BD2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36881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E48B4-F4ED-4DA0-AE35-136D1133A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65DC66A-BAB7-4355-9ED4-0CA743C61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F7F55-C26B-48FC-B38F-777DAE6B04F4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E53A72-E1D6-4692-98EC-6243614B7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049D8E0-67E3-4D7E-847C-95CFA1F84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E5CE040-C0D3-40BD-8063-A2DF101E8B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68096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5A1AF48-9BFD-46FF-86A7-B55749512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1" y="365760"/>
            <a:ext cx="11173672" cy="106070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0A9DCA-C8FA-4C09-B99A-DC34A0B429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1511F17-38C4-44DF-ADBB-003A309F28E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E9C752-D058-463B-9E84-F0D0FB1AA2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D1AAD6-6BF9-44BD-8B5E-441D9E17EC6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E2704D-D973-44F5-AFE3-5458B42961F6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9E830F-3EEF-43CF-8DA5-7C9FAB97A0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53161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9723C8-B7B3-4950-BDEC-A8C820F2E9F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A55AAD7-B6DD-49B9-A161-72534B93215C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67F4B0-9013-4E9E-9C02-E80308C894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CF68D0-3D52-4AAE-BAD5-E685A44EC4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AC0B7B8-5D2E-4DC2-8ED6-129DC4E412E4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555C70-7666-4B1C-BD96-58FC37C94F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3451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" y="4267200"/>
            <a:ext cx="12188824" cy="18288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A6472576-AA86-442F-942A-4D33C4E2B31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1930" y="365760"/>
            <a:ext cx="11177153" cy="365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071916-F690-4209-B46C-EC1B2FCDBE7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A58F86F5-BAB6-4CB3-90D0-9627181D6F26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82348C-75B0-4FAD-B938-374E4C3CF7C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C8C4C5-03BD-4CB4-9145-5AD4CD061F5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0861592-E564-44B4-A852-0D4E56011C1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2063E46-1CE4-4B18-8360-8C206F79FA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26632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D9B5BD-B7AB-4911-895E-9E202985C1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DFC9BF-4470-40CF-8D9B-EBFBF35E4146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C5353D-C3F0-4610-AC96-51E1C3E245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981F65-3889-43EC-925C-AE198E6C39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BA89284-C4DA-40FB-8673-D09F327E1187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E404F8E-3569-4CB7-9779-AC1B195FD6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217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6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76679"/>
            <a:ext cx="3583515" cy="215798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0" y="4098770"/>
            <a:ext cx="3583515" cy="201167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14844" y="1676679"/>
            <a:ext cx="3583515" cy="215798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F3A29B0-716A-4C35-A013-3FAC88D7A80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314844" y="4096512"/>
            <a:ext cx="3583515" cy="201167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44F57E95-9B34-49D0-B2D5-56ED760D9CA1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05568" y="1682496"/>
            <a:ext cx="3583515" cy="215798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EF22231-FA42-42CF-AB2B-892F463A81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05568" y="4096512"/>
            <a:ext cx="3583515" cy="201168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366D76-6B79-48C4-8251-348E1555D51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7D08B945-A802-43B9-B6DA-6200C366EE5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B02B7B-0702-48E3-8554-1CD7C994F25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C8D6D6-7FF6-449D-9219-4E96EBA4FD1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9F1CC7F-1769-4309-B028-FCCD6DB279B4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402C49C4-4B74-4AA3-BB68-2300CD8650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24140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24000"/>
            <a:ext cx="12188825" cy="4572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701FDA-857B-4B97-A1E3-A1B888D9C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1" y="365760"/>
            <a:ext cx="11173672" cy="106070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6CC38F-9F2A-422F-979B-8828A725FA8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05C69B1-3034-40AE-A411-87CCD4038996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87D2D-86BD-4F81-ABB2-617104A445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DFD90-6BB1-437F-9F87-F0EE11D6B0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6E7E8EB-BBE8-401F-8C15-7A754DD1C2CB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82F5B8BF-A1CE-42CC-ACF4-0A5192FDE5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58843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2"/>
            <a:ext cx="5484971" cy="573023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Media Placeholder 15">
            <a:extLst>
              <a:ext uri="{FF2B5EF4-FFF2-40B4-BE49-F238E27FC236}">
                <a16:creationId xmlns:a16="http://schemas.microsoft.com/office/drawing/2014/main" id="{CEB5CA12-0E7C-45C9-92C9-E64DA006575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5996902" cy="6096000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9F91859-85A6-4652-BB50-DE18F40DAE1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5530F72-C993-4612-9AFC-11C1D7DDF4A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99760E2-6197-4679-A293-2A1317EFAB4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F677D8-5DFC-45CA-854E-7E2FDF7D479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6A4D1D-419D-453A-9A35-9EF2960602A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AA30451-9D03-4FA5-AF5E-920706E8ED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88727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0"/>
            <a:ext cx="5484971" cy="57302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E3F330-9F76-4B2D-936C-BA16606110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5997071" cy="6096000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C1D49F-49AB-492E-AADA-3FDC394DFDF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63315BF-63BF-4C4E-8260-3EBBE9ADF505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87AAB2-79C4-4D8A-B367-D69C5CB9771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0EC04C-1500-45F6-8042-1CE988757A4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92DAA9B-CFA7-4AA1-B116-CD98263A729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3F9A740-E5A2-4D3A-836A-46E192FC21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75562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7968"/>
            <a:ext cx="12174665" cy="68500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6651" y="2438400"/>
            <a:ext cx="10360501" cy="438912"/>
          </a:xfrm>
        </p:spPr>
        <p:txBody>
          <a:bodyPr anchor="b" anchorCtr="0">
            <a:noAutofit/>
          </a:bodyPr>
          <a:lstStyle>
            <a:lvl1pPr>
              <a:defRPr sz="426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6651" y="3255264"/>
            <a:ext cx="10360501" cy="841248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666">
                <a:solidFill>
                  <a:schemeClr val="tx1"/>
                </a:solidFill>
              </a:defRPr>
            </a:lvl1pPr>
            <a:lvl2pPr marL="0" indent="0">
              <a:buNone/>
              <a:defRPr sz="2666">
                <a:solidFill>
                  <a:schemeClr val="tx1"/>
                </a:solidFill>
              </a:defRPr>
            </a:lvl2pPr>
            <a:lvl3pPr marL="0" indent="0">
              <a:buNone/>
              <a:defRPr sz="2666">
                <a:solidFill>
                  <a:schemeClr val="tx1"/>
                </a:solidFill>
              </a:defRPr>
            </a:lvl3pPr>
            <a:lvl4pPr marL="0" indent="0">
              <a:buNone/>
              <a:defRPr sz="2666">
                <a:solidFill>
                  <a:schemeClr val="tx1"/>
                </a:solidFill>
              </a:defRPr>
            </a:lvl4pPr>
            <a:lvl5pPr marL="0" indent="0">
              <a:buNone/>
              <a:defRPr sz="2666">
                <a:solidFill>
                  <a:schemeClr val="tx1"/>
                </a:solidFill>
              </a:defRPr>
            </a:lvl5pPr>
            <a:lvl6pPr marL="0" indent="0">
              <a:buNone/>
              <a:defRPr sz="2666">
                <a:solidFill>
                  <a:schemeClr val="tx1"/>
                </a:solidFill>
              </a:defRPr>
            </a:lvl6pPr>
            <a:lvl7pPr marL="0" indent="0">
              <a:buNone/>
              <a:defRPr sz="2666">
                <a:solidFill>
                  <a:schemeClr val="tx1"/>
                </a:solidFill>
              </a:defRPr>
            </a:lvl7pPr>
            <a:lvl8pPr marL="0" indent="0">
              <a:buNone/>
              <a:defRPr sz="2666">
                <a:solidFill>
                  <a:schemeClr val="tx1"/>
                </a:solidFill>
              </a:defRPr>
            </a:lvl8pPr>
            <a:lvl9pPr marL="0" indent="0">
              <a:buNone/>
              <a:defRPr sz="2666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Email (optional)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782957" y="-1296364"/>
            <a:ext cx="184731" cy="379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66" dirty="0" err="1">
              <a:solidFill>
                <a:schemeClr val="tx2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 userDrawn="1"/>
        </p:nvCxnSpPr>
        <p:spPr>
          <a:xfrm>
            <a:off x="814638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8390744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20421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4BA977D-F01B-45A3-A788-241A0D7E09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935982"/>
            <a:ext cx="12188825" cy="9220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B63AD2-13B3-4C1A-81A7-6B8DAA7875C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609443" y="512064"/>
            <a:ext cx="3180378" cy="6827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09441" y="2255520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09441" y="4157474"/>
            <a:ext cx="6703854" cy="718145"/>
          </a:xfrm>
        </p:spPr>
        <p:txBody>
          <a:bodyPr>
            <a:spAutoFit/>
          </a:bodyPr>
          <a:lstStyle>
            <a:lvl1pPr marL="0" marR="0" indent="0" algn="l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tx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2pPr>
            <a:lvl3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2D38650-2189-4A4F-AD30-9C41C4094C5F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340527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5F1FCDD-9A69-4405-B89F-CFDAF1874A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88825" cy="68681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6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4"/>
            <a:ext cx="6703854" cy="718145"/>
          </a:xfrm>
        </p:spPr>
        <p:txBody>
          <a:bodyPr>
            <a:spAutoFit/>
          </a:bodyPr>
          <a:lstStyle>
            <a:lvl1pPr marL="0" marR="0" indent="0" algn="l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9443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96788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6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4"/>
            <a:ext cx="6703854" cy="718145"/>
          </a:xfrm>
        </p:spPr>
        <p:txBody>
          <a:bodyPr>
            <a:spAutoFit/>
          </a:bodyPr>
          <a:lstStyle>
            <a:lvl1pPr marL="0" marR="0" indent="0" algn="l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43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28372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icture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2BD88AD-BF9F-4A95-ACE0-0665F32F8DF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6774" y="1682496"/>
            <a:ext cx="685418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48" indent="-37784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marL="609433" lvl="1" indent="-609433">
              <a:buNone/>
            </a:pPr>
            <a:endParaRPr kumimoji="0" lang="en-US" sz="3732" b="0" i="0" u="none" strike="noStrike" kern="1200" cap="none" spc="0" normalizeH="0" baseline="0" noProof="0" dirty="0">
              <a:ln>
                <a:noFill/>
              </a:ln>
              <a:solidFill>
                <a:srgbClr val="0033B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A5CEAD-8DF7-4847-A3C5-A3EBD2E6DC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07869" y="1682495"/>
            <a:ext cx="3675693" cy="4425696"/>
          </a:xfrm>
          <a:noFill/>
        </p:spPr>
        <p:txBody>
          <a:bodyPr/>
          <a:lstStyle>
            <a:lvl1pPr marL="0" marR="0" indent="0" algn="l" defTabSz="609433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609433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CB4A54-5341-4A6F-9733-3D09E3B0E7F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6FE1-BD49-4DF7-BB00-A94B86041749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9F96F16-06EB-41EA-A547-8A5407FBCF4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CDF8484-6FCC-46A8-B1A4-B877ED71BD2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F8FABAD-01EF-483E-B2EF-403B57169C4D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42CD7C5-2D34-4C27-8DA0-D81A9530F1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53112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E686D16-B817-4FD7-91EF-E75DCEECBD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03805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48" indent="-37784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0FADBE-3030-4F6C-88B1-C1A6FD63B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B3731C5-DFAC-4D4E-959F-93B93103246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282AB7-CA5B-4BB2-9297-72F42A2F2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F0976E-13F2-445E-A5C4-28915A054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211AD09-EFF5-4259-BC1F-AFBAA6EE5437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5BD48D0-E8C8-4058-B322-A6DC8E33D7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07184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682496"/>
            <a:ext cx="11177153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B5921-13FC-4322-87C4-4DB758BA0A47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2311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3ACF89-C07E-4F39-9ACF-C55F859B1B1D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8BD2276-8977-4766-9164-0C1C18520B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09969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1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7C4CB0-E1A6-4DBC-8C27-B432BF957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93FAD-A110-4D0D-BF6C-EE167223619A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9FAE45-F8BC-40F3-9164-D36C18C3F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3BC111-2740-46AF-A4EE-25875C41C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30131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7A35C2-C0F4-49D9-B722-67323A6F7FD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3AED819-68E9-4C82-9F88-87FDA99CDA3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8FFCDF-15C2-443A-9747-477B83B8CFC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063F49-35A6-44FE-8D1B-AF1E3728CAC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6EBED9-9EFE-447A-BEE0-FCC12D286A78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B87AFB02-A938-4E08-B29B-ED6F9D4431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3061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1/3,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7380334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31406E-2CA1-499E-A808-27B124490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64E4A-E694-4F54-A4D8-74459EC7FBEC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5E847-C84C-457F-B901-2EEB12AD94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C10D1C-F2EA-46B6-B35A-881C8F5C6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149C702-A52C-4836-AD09-FFA898A62A90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FD43C0D-A77C-4195-A4E0-023F5CDE94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89765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7380334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C60974-838A-40CC-8A5B-B6116CA4D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893F35-2FAA-43E7-B4AD-DAFD3780020E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E2370C-3F6B-42C0-8834-DB3406097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C5B230-74A0-418F-BBA9-0B141D8CA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C70E20-6501-4F77-9CBC-3806310ED989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DDA0DA6-E3B0-4903-A9B6-BBC566D4D7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76101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69CF19-0589-4E7F-87F9-FC7CAC6AC6D8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204451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2A1A39-C278-49C1-98BD-03DFB86ACBB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842D52C-3CA5-4C1F-B4EA-6C668C28FEA4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A52B1C-E724-479F-B20E-0E459E80FD0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78CA9C-FCAF-4B99-B5F6-60AF3219B3B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DCFE254-800B-4596-8FBC-3984CE5AE788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304A10A-1409-4F5A-9F54-EB802809A8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10589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B5CE85F-2A75-4693-93B8-CBF7927F72B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04109" y="2987040"/>
            <a:ext cx="5484971" cy="3121152"/>
          </a:xfrm>
        </p:spPr>
        <p:txBody>
          <a:bodyPr anchor="ctr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33434-287A-47FC-8826-927D06662D6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8560DFC-A6CF-4FC3-8474-FACA8C8040F5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131ED2-2FB0-4787-9839-9D3116D30B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BA36B9-835B-4A55-994F-E64CDB64656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D11681F-8020-4D84-9273-264D5F39BDAF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B1E49D76-A2A1-4E8C-8CF5-299D8A1F2A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418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09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1325C43-3F77-4CF9-8E6F-F5DB1CDCD7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11929" y="2987040"/>
            <a:ext cx="5484971" cy="3121152"/>
          </a:xfrm>
        </p:spPr>
        <p:txBody>
          <a:bodyPr anchor="ctr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33C2E1-148D-4C6B-A6B6-6408779530FF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BFC2F8F9-635E-44ED-B3A1-8140F0E9DA54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F894B6-9AEC-449F-97A3-25262205013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6B10EAF-6394-4900-AC77-D434D0DE4BE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C731D1-00A8-4565-A437-8595C7E6650E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7ECD6034-AE10-44AD-8FB1-7887B1710CE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30042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6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76679"/>
            <a:ext cx="3583515" cy="215798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0" y="4098771"/>
            <a:ext cx="3583515" cy="201167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14844" y="1676679"/>
            <a:ext cx="3583515" cy="215798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F3A29B0-716A-4C35-A013-3FAC88D7A80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314844" y="4096512"/>
            <a:ext cx="3583515" cy="201167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44F57E95-9B34-49D0-B2D5-56ED760D9CA1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05568" y="1682496"/>
            <a:ext cx="3583515" cy="215798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EF22231-FA42-42CF-AB2B-892F463A81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05568" y="4096512"/>
            <a:ext cx="3583515" cy="201168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366D76-6B79-48C4-8251-348E1555D51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7D08B945-A802-43B9-B6DA-6200C366EE5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B02B7B-0702-48E3-8554-1CD7C994F25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C8D6D6-7FF6-449D-9219-4E96EBA4FD1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9F1CC7F-1769-4309-B028-FCCD6DB279B4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402C49C4-4B74-4AA3-BB68-2300CD8650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82183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16" indent="-304716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16" indent="-304716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33" indent="-304716">
              <a:buSzPct val="90000"/>
              <a:buFont typeface="Arial" panose="020B0604020202020204" pitchFamily="34" charset="0"/>
              <a:buChar char="–"/>
              <a:defRPr sz="1866"/>
            </a:lvl4pPr>
            <a:lvl5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49" indent="-304716">
              <a:buFont typeface="Courier New" panose="02070309020205020404" pitchFamily="49" charset="0"/>
              <a:buChar char="o"/>
              <a:defRPr sz="1866"/>
            </a:lvl7pPr>
            <a:lvl8pPr marL="914149" indent="-304716">
              <a:buFont typeface="Courier New" panose="02070309020205020404" pitchFamily="49" charset="0"/>
              <a:buChar char="o"/>
              <a:defRPr sz="1866"/>
            </a:lvl8pPr>
            <a:lvl9pPr marL="914149" indent="-304716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3ACF89-C07E-4F39-9ACF-C55F859B1B1D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8BD2276-8977-4766-9164-0C1C18520B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64670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16" indent="-304716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16" indent="-304716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33" indent="-304716">
              <a:buSzPct val="90000"/>
              <a:buFont typeface="Arial" panose="020B0604020202020204" pitchFamily="34" charset="0"/>
              <a:buChar char="–"/>
              <a:defRPr sz="1866"/>
            </a:lvl4pPr>
            <a:lvl5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49" indent="-304716">
              <a:buFont typeface="Courier New" panose="02070309020205020404" pitchFamily="49" charset="0"/>
              <a:buChar char="o"/>
              <a:defRPr sz="1866"/>
            </a:lvl7pPr>
            <a:lvl8pPr marL="914149" indent="-304716">
              <a:buFont typeface="Courier New" panose="02070309020205020404" pitchFamily="49" charset="0"/>
              <a:buChar char="o"/>
              <a:defRPr sz="1866"/>
            </a:lvl8pPr>
            <a:lvl9pPr marL="914149" indent="-304716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CECC9D-0C67-48D4-9A1C-98C5944F0D6B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0A897C52-38E8-4C02-B11A-8278FD59AD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4112" y="1682495"/>
            <a:ext cx="5984713" cy="4425696"/>
          </a:xfrm>
        </p:spPr>
        <p:txBody>
          <a:bodyPr anchor="ctr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E6D374-812D-46BD-ACCF-706447B9BF2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3862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CECC9D-0C67-48D4-9A1C-98C5944F0D6B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0A897C52-38E8-4C02-B11A-8278FD59AD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4112" y="1682495"/>
            <a:ext cx="5984713" cy="4425696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E6D374-812D-46BD-ACCF-706447B9BF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94982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16" indent="-304716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16" indent="-304716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33" indent="-304716">
              <a:buSzPct val="90000"/>
              <a:buFont typeface="Arial" panose="020B0604020202020204" pitchFamily="34" charset="0"/>
              <a:buChar char="–"/>
              <a:defRPr sz="1866"/>
            </a:lvl4pPr>
            <a:lvl5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49" indent="-304716">
              <a:buFont typeface="Courier New" panose="02070309020205020404" pitchFamily="49" charset="0"/>
              <a:buChar char="o"/>
              <a:defRPr sz="1866"/>
            </a:lvl7pPr>
            <a:lvl8pPr marL="914149" indent="-304716">
              <a:buFont typeface="Courier New" panose="02070309020205020404" pitchFamily="49" charset="0"/>
              <a:buChar char="o"/>
              <a:defRPr sz="1866"/>
            </a:lvl8pPr>
            <a:lvl9pPr marL="914149" indent="-304716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239C7-19E4-4769-A6C4-887621BCCE1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C20B5319-2B45-4252-BEAB-FDF0E14B7070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6204112" y="1682496"/>
            <a:ext cx="5984713" cy="44256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Insert Media he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8E423FB-65E5-44B7-A219-A6E67DC3F2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57943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16" indent="-304716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16" indent="-304716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33" indent="-304716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49" indent="-304716">
              <a:buClrTx/>
              <a:buFont typeface="Courier New" panose="02070309020205020404" pitchFamily="49" charset="0"/>
              <a:buChar char="o"/>
              <a:defRPr sz="1866"/>
            </a:lvl7pPr>
            <a:lvl8pPr marL="914149" indent="-304716">
              <a:buClrTx/>
              <a:buFont typeface="Courier New" panose="02070309020205020404" pitchFamily="49" charset="0"/>
              <a:buChar char="o"/>
              <a:defRPr sz="1866"/>
            </a:lvl8pPr>
            <a:lvl9pPr marL="914149" indent="-304716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7B8BDB-D6E8-4ABA-A6E3-740EBC2FB34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A665A60-4126-4C36-935C-5B20305506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80342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Picture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16" indent="-304716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16" indent="-304716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33" indent="-304716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49" indent="-304716">
              <a:buClrTx/>
              <a:buFont typeface="Courier New" panose="02070309020205020404" pitchFamily="49" charset="0"/>
              <a:buChar char="o"/>
              <a:defRPr sz="1866"/>
            </a:lvl7pPr>
            <a:lvl8pPr marL="914149" indent="-304716">
              <a:buClrTx/>
              <a:buFont typeface="Courier New" panose="02070309020205020404" pitchFamily="49" charset="0"/>
              <a:buChar char="o"/>
              <a:defRPr sz="1866"/>
            </a:lvl8pPr>
            <a:lvl9pPr marL="914149" indent="-304716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3732A3-306E-480E-A183-4093F0BA7DEA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791A77E-A9F3-439D-B41C-153F4D9DA6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682496"/>
            <a:ext cx="5996902" cy="442569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3101BBA-D0AC-40A0-823F-9602CC0602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86518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Media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16" indent="-304716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16" indent="-304716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33" indent="-304716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49" indent="-304716">
              <a:buClrTx/>
              <a:buFont typeface="Courier New" panose="02070309020205020404" pitchFamily="49" charset="0"/>
              <a:buChar char="o"/>
              <a:defRPr sz="1866"/>
            </a:lvl7pPr>
            <a:lvl8pPr marL="914149" indent="-304716">
              <a:buClrTx/>
              <a:buFont typeface="Courier New" panose="02070309020205020404" pitchFamily="49" charset="0"/>
              <a:buChar char="o"/>
              <a:defRPr sz="1866"/>
            </a:lvl8pPr>
            <a:lvl9pPr marL="914149" indent="-304716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58C28-6D82-4CDA-99BC-649955BB24B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7A841180-8D0B-4829-9826-A334842E6739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0" y="1682496"/>
            <a:ext cx="5996902" cy="4425696"/>
          </a:xfrm>
        </p:spPr>
        <p:txBody>
          <a:bodyPr anchor="ctr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0714AE5-4850-4466-8C9F-DD59FC000F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28046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vanc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C81C643-B400-4457-BA76-DC5CEB304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31449" cy="6858000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677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49" indent="-308949">
              <a:buNone/>
              <a:defRPr sz="5865">
                <a:solidFill>
                  <a:schemeClr val="tx1"/>
                </a:solidFill>
              </a:defRPr>
            </a:lvl2pPr>
            <a:lvl3pPr marL="304716" indent="-304716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6pPr>
            <a:lvl7pPr marL="0" indent="0">
              <a:buClrTx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313295" y="6400800"/>
            <a:ext cx="121888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C94624-3DA0-49E6-B632-003C396656D1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986777" y="6400800"/>
            <a:ext cx="609441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white"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1986777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20ADF0C-4BBB-45C4-865D-6FA4EAC379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4318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49" indent="-308949">
              <a:buNone/>
              <a:defRPr sz="5865">
                <a:solidFill>
                  <a:schemeClr val="tx1"/>
                </a:solidFill>
              </a:defRPr>
            </a:lvl2pPr>
            <a:lvl3pPr marL="304716" indent="-304716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585842-DBA6-46BB-B99E-ED1F2ADC75F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518" y="6400800"/>
            <a:ext cx="609441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63F996-94D9-4E07-B4CD-3CF1568075B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32353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/ 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bg1"/>
                </a:solidFill>
              </a:defRPr>
            </a:lvl1pPr>
            <a:lvl2pPr marL="308949" indent="-308949">
              <a:buNone/>
              <a:defRPr sz="5865">
                <a:solidFill>
                  <a:schemeClr val="bg1"/>
                </a:solidFill>
              </a:defRPr>
            </a:lvl2pPr>
            <a:lvl3pPr marL="304716" indent="-304716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025CC0-001A-43F5-9B57-46CE61769B5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518" y="6400800"/>
            <a:ext cx="6094413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0A6E3-DE2F-40B3-955E-42C3550BD2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37035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E48B4-F4ED-4DA0-AE35-136D1133A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65DC66A-BAB7-4355-9ED4-0CA743C61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F7F55-C26B-48FC-B38F-777DAE6B04F4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E53A72-E1D6-4692-98EC-6243614B7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049D8E0-67E3-4D7E-847C-95CFA1F84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E5CE040-C0D3-40BD-8063-A2DF101E8B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28598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5A1AF48-9BFD-46FF-86A7-B55749512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3" y="365760"/>
            <a:ext cx="11173672" cy="106070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0A9DCA-C8FA-4C09-B99A-DC34A0B429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1511F17-38C4-44DF-ADBB-003A309F28E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E9C752-D058-463B-9E84-F0D0FB1AA2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D1AAD6-6BF9-44BD-8B5E-441D9E17EC6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E2704D-D973-44F5-AFE3-5458B42961F6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9E830F-3EEF-43CF-8DA5-7C9FAB97A0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3187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9723C8-B7B3-4950-BDEC-A8C820F2E9F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A55AAD7-B6DD-49B9-A161-72534B93215C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67F4B0-9013-4E9E-9C02-E80308C894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CF68D0-3D52-4AAE-BAD5-E685A44EC4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AC0B7B8-5D2E-4DC2-8ED6-129DC4E412E4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555C70-7666-4B1C-BD96-58FC37C94F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9194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239C7-19E4-4769-A6C4-887621BCCE1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C20B5319-2B45-4252-BEAB-FDF0E14B7070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6204112" y="1682496"/>
            <a:ext cx="5984713" cy="44256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Insert Media he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8E423FB-65E5-44B7-A219-A6E67DC3F2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30012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2" y="4267200"/>
            <a:ext cx="12188824" cy="18288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A6472576-AA86-442F-942A-4D33C4E2B31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1930" y="365760"/>
            <a:ext cx="11177153" cy="365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071916-F690-4209-B46C-EC1B2FCDBE7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A58F86F5-BAB6-4CB3-90D0-9627181D6F26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82348C-75B0-4FAD-B938-374E4C3CF7C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C8C4C5-03BD-4CB4-9145-5AD4CD061F5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0861592-E564-44B4-A852-0D4E56011C1F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2063E46-1CE4-4B18-8360-8C206F79FA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102708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D9B5BD-B7AB-4911-895E-9E202985C1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DFC9BF-4470-40CF-8D9B-EBFBF35E4146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C5353D-C3F0-4610-AC96-51E1C3E245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981F65-3889-43EC-925C-AE198E6C39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BA89284-C4DA-40FB-8673-D09F327E1187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E404F8E-3569-4CB7-9779-AC1B195FD6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84144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24000"/>
            <a:ext cx="12188825" cy="4572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701FDA-857B-4B97-A1E3-A1B888D9C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3" y="365760"/>
            <a:ext cx="11173672" cy="106070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6CC38F-9F2A-422F-979B-8828A725FA8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05C69B1-3034-40AE-A411-87CCD4038996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87D2D-86BD-4F81-ABB2-617104A445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DFD90-6BB1-437F-9F87-F0EE11D6B0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6E7E8EB-BBE8-401F-8C15-7A754DD1C2CB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82F5B8BF-A1CE-42CC-ACF4-0A5192FDE5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54430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3"/>
            <a:ext cx="5484971" cy="573023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Media Placeholder 15">
            <a:extLst>
              <a:ext uri="{FF2B5EF4-FFF2-40B4-BE49-F238E27FC236}">
                <a16:creationId xmlns:a16="http://schemas.microsoft.com/office/drawing/2014/main" id="{CEB5CA12-0E7C-45C9-92C9-E64DA006575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5996902" cy="6096000"/>
          </a:xfrm>
        </p:spPr>
        <p:txBody>
          <a:bodyPr anchor="ctr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9F91859-85A6-4652-BB50-DE18F40DAE1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5530F72-C993-4612-9AFC-11C1D7DDF4A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99760E2-6197-4679-A293-2A1317EFAB4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F677D8-5DFC-45CA-854E-7E2FDF7D479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6A4D1D-419D-453A-9A35-9EF2960602A8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AA30451-9D03-4FA5-AF5E-920706E8ED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60330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0"/>
            <a:ext cx="5484971" cy="57302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E3F330-9F76-4B2D-936C-BA16606110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" y="0"/>
            <a:ext cx="5997071" cy="6096000"/>
          </a:xfrm>
        </p:spPr>
        <p:txBody>
          <a:bodyPr anchor="ctr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C1D49F-49AB-492E-AADA-3FDC394DFDF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63315BF-63BF-4C4E-8260-3EBBE9ADF505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87AAB2-79C4-4D8A-B367-D69C5CB9771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0EC04C-1500-45F6-8042-1CE988757A4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92DAA9B-CFA7-4AA1-B116-CD98263A7298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3F9A740-E5A2-4D3A-836A-46E192FC21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12961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7969"/>
            <a:ext cx="12174665" cy="68500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6651" y="2438400"/>
            <a:ext cx="10360501" cy="438912"/>
          </a:xfrm>
        </p:spPr>
        <p:txBody>
          <a:bodyPr anchor="b" anchorCtr="0">
            <a:noAutofit/>
          </a:bodyPr>
          <a:lstStyle>
            <a:lvl1pPr>
              <a:defRPr sz="426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6651" y="3255264"/>
            <a:ext cx="10360501" cy="841248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666">
                <a:solidFill>
                  <a:schemeClr val="tx1"/>
                </a:solidFill>
              </a:defRPr>
            </a:lvl1pPr>
            <a:lvl2pPr marL="0" indent="0">
              <a:buNone/>
              <a:defRPr sz="2666">
                <a:solidFill>
                  <a:schemeClr val="tx1"/>
                </a:solidFill>
              </a:defRPr>
            </a:lvl2pPr>
            <a:lvl3pPr marL="0" indent="0">
              <a:buNone/>
              <a:defRPr sz="2666">
                <a:solidFill>
                  <a:schemeClr val="tx1"/>
                </a:solidFill>
              </a:defRPr>
            </a:lvl3pPr>
            <a:lvl4pPr marL="0" indent="0">
              <a:buNone/>
              <a:defRPr sz="2666">
                <a:solidFill>
                  <a:schemeClr val="tx1"/>
                </a:solidFill>
              </a:defRPr>
            </a:lvl4pPr>
            <a:lvl5pPr marL="0" indent="0">
              <a:buNone/>
              <a:defRPr sz="2666">
                <a:solidFill>
                  <a:schemeClr val="tx1"/>
                </a:solidFill>
              </a:defRPr>
            </a:lvl5pPr>
            <a:lvl6pPr marL="0" indent="0">
              <a:buNone/>
              <a:defRPr sz="2666">
                <a:solidFill>
                  <a:schemeClr val="tx1"/>
                </a:solidFill>
              </a:defRPr>
            </a:lvl6pPr>
            <a:lvl7pPr marL="0" indent="0">
              <a:buNone/>
              <a:defRPr sz="2666">
                <a:solidFill>
                  <a:schemeClr val="tx1"/>
                </a:solidFill>
              </a:defRPr>
            </a:lvl7pPr>
            <a:lvl8pPr marL="0" indent="0">
              <a:buNone/>
              <a:defRPr sz="2666">
                <a:solidFill>
                  <a:schemeClr val="tx1"/>
                </a:solidFill>
              </a:defRPr>
            </a:lvl8pPr>
            <a:lvl9pPr marL="0" indent="0">
              <a:buNone/>
              <a:defRPr sz="2666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Email (optional)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782959" y="-1296362"/>
            <a:ext cx="184731" cy="4615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399" dirty="0" err="1">
              <a:solidFill>
                <a:schemeClr val="tx2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 userDrawn="1"/>
        </p:nvCxnSpPr>
        <p:spPr>
          <a:xfrm>
            <a:off x="814640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8390746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12472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88825" cy="71029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64"/>
          </a:p>
        </p:txBody>
      </p:sp>
      <p:sp>
        <p:nvSpPr>
          <p:cNvPr id="4" name="Parallelogram 3"/>
          <p:cNvSpPr/>
          <p:nvPr userDrawn="1"/>
        </p:nvSpPr>
        <p:spPr>
          <a:xfrm>
            <a:off x="4652436" y="0"/>
            <a:ext cx="6293023" cy="710293"/>
          </a:xfrm>
          <a:prstGeom prst="parallelogram">
            <a:avLst>
              <a:gd name="adj" fmla="val 70977"/>
            </a:avLst>
          </a:prstGeom>
          <a:solidFill>
            <a:srgbClr val="E12F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64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701FDA-857B-4B97-A1E3-A1B888D9C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599" y="120832"/>
            <a:ext cx="11924914" cy="4584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59" b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6CC38F-9F2A-422F-979B-8828A725FA8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87D2D-86BD-4F81-ABB2-617104A445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DFD90-6BB1-437F-9F87-F0EE11D6B0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2F5B8BF-A1CE-42CC-ACF4-0A5192FDE5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20" y="6373368"/>
            <a:ext cx="1703774" cy="36576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9510914" y="155477"/>
            <a:ext cx="2544596" cy="37576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4068271843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4BA977D-F01B-45A3-A788-241A0D7E09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935981"/>
            <a:ext cx="12188825" cy="9220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B63AD2-13B3-4C1A-81A7-6B8DAA7875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609443" y="512064"/>
            <a:ext cx="3180379" cy="6827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09441" y="2255521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09441" y="4157474"/>
            <a:ext cx="6703854" cy="718145"/>
          </a:xfrm>
        </p:spPr>
        <p:txBody>
          <a:bodyPr>
            <a:spAutoFit/>
          </a:bodyPr>
          <a:lstStyle>
            <a:lvl1pPr marL="0" marR="0" indent="0" algn="l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tx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2pPr>
            <a:lvl3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© 2019 Cognizan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2D38650-2189-4A4F-AD30-9C41C4094C5F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208529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5F1FCDD-9A69-4405-B89F-CFDAF1874A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825" cy="68681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7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4"/>
            <a:ext cx="6703854" cy="718145"/>
          </a:xfrm>
        </p:spPr>
        <p:txBody>
          <a:bodyPr>
            <a:spAutoFit/>
          </a:bodyPr>
          <a:lstStyle>
            <a:lvl1pPr marL="0" marR="0" indent="0" algn="l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© 2019 Cognizan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3" y="512064"/>
            <a:ext cx="3180379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56383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7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4"/>
            <a:ext cx="6703854" cy="718145"/>
          </a:xfrm>
        </p:spPr>
        <p:txBody>
          <a:bodyPr>
            <a:spAutoFit/>
          </a:bodyPr>
          <a:lstStyle>
            <a:lvl1pPr marL="0" marR="0" indent="0" algn="l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© 2019 Cognizan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3" y="512064"/>
            <a:ext cx="3180379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6584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7B8BDB-D6E8-4ABA-A6E3-740EBC2FB34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A665A60-4126-4C36-935C-5B20305506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33358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icture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2BD88AD-BF9F-4A95-ACE0-0665F32F8DF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6774" y="1682496"/>
            <a:ext cx="685418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30" indent="-377830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marL="609402" lvl="1" indent="-609402">
              <a:buNone/>
            </a:pPr>
            <a:endParaRPr kumimoji="0" lang="en-US" sz="3732" b="0" i="0" u="none" strike="noStrike" kern="1200" cap="none" spc="0" normalizeH="0" baseline="0" noProof="0" dirty="0">
              <a:ln>
                <a:noFill/>
              </a:ln>
              <a:solidFill>
                <a:srgbClr val="0033B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A5CEAD-8DF7-4847-A3C5-A3EBD2E6DC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07868" y="1682495"/>
            <a:ext cx="3675694" cy="4425696"/>
          </a:xfrm>
          <a:noFill/>
        </p:spPr>
        <p:txBody>
          <a:bodyPr/>
          <a:lstStyle>
            <a:lvl1pPr marL="0" marR="0" indent="0" algn="l" defTabSz="609402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609402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CB4A54-5341-4A6F-9733-3D09E3B0E7F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9F96F16-06EB-41EA-A547-8A5407FBCF4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2019 Cognizan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CDF8484-6FCC-46A8-B1A4-B877ED71BD2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F8FABAD-01EF-483E-B2EF-403B57169C4D}"/>
              </a:ext>
            </a:extLst>
          </p:cNvPr>
          <p:cNvCxnSpPr>
            <a:cxnSpLocks/>
          </p:cNvCxnSpPr>
          <p:nvPr userDrawn="1"/>
        </p:nvCxnSpPr>
        <p:spPr>
          <a:xfrm>
            <a:off x="513128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42CD7C5-2D34-4C27-8DA0-D81A9530F1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06875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E686D16-B817-4FD7-91EF-E75DCEECBD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03805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30" indent="-377830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0FADBE-3030-4F6C-88B1-C1A6FD63B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282AB7-CA5B-4BB2-9297-72F42A2F2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F0976E-13F2-445E-A5C4-28915A054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211AD09-EFF5-4259-BC1F-AFBAA6EE5437}"/>
              </a:ext>
            </a:extLst>
          </p:cNvPr>
          <p:cNvCxnSpPr>
            <a:cxnSpLocks/>
          </p:cNvCxnSpPr>
          <p:nvPr userDrawn="1"/>
        </p:nvCxnSpPr>
        <p:spPr>
          <a:xfrm>
            <a:off x="513128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5BD48D0-E8C8-4058-B322-A6DC8E33D7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10631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682496"/>
            <a:ext cx="11177153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19 Cognizan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65683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7C4CB0-E1A6-4DBC-8C27-B432BF957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3BC111-2740-46AF-A4EE-25875C41C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62457773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7A35C2-C0F4-49D9-B722-67323A6F7FD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063F49-35A6-44FE-8D1B-AF1E3728CAC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6EBED9-9EFE-447A-BEE0-FCC12D286A7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B87AFB02-A938-4E08-B29B-ED6F9D4431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3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129976051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1/3,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7380334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31406E-2CA1-499E-A808-27B124490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C10D1C-F2EA-46B6-B35A-881C8F5C6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149C702-A52C-4836-AD09-FFA898A62A9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FD43C0D-A77C-4195-A4E0-023F5CDE94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117887237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7380334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C60974-838A-40CC-8A5B-B6116CA4D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C5B230-74A0-418F-BBA9-0B141D8CA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C70E20-6501-4F77-9CBC-3806310ED989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DDA0DA6-E3B0-4903-A9B6-BBC566D4D7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285648274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2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69CF19-0589-4E7F-87F9-FC7CAC6AC6D8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20445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2A1A39-C278-49C1-98BD-03DFB86ACBB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78CA9C-FCAF-4B99-B5F6-60AF3219B3B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DCFE254-800B-4596-8FBC-3984CE5AE78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304A10A-1409-4F5A-9F54-EB802809A8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4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48377627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2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B5CE85F-2A75-4693-93B8-CBF7927F72B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04109" y="2987040"/>
            <a:ext cx="5484971" cy="3121152"/>
          </a:xfrm>
        </p:spPr>
        <p:txBody>
          <a:bodyPr anchor="ctr"/>
          <a:lstStyle>
            <a:lvl1pPr marL="0" marR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33434-287A-47FC-8826-927D06662D6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BA36B9-835B-4A55-994F-E64CDB64656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D11681F-8020-4D84-9273-264D5F39BDA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B1E49D76-A2A1-4E8C-8CF5-299D8A1F2A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4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166313187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2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09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1325C43-3F77-4CF9-8E6F-F5DB1CDCD7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11930" y="2987040"/>
            <a:ext cx="5484971" cy="3121152"/>
          </a:xfrm>
        </p:spPr>
        <p:txBody>
          <a:bodyPr anchor="ctr"/>
          <a:lstStyle>
            <a:lvl1pPr marL="0" marR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33C2E1-148D-4C6B-A6B6-6408779530FF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6B10EAF-6394-4900-AC77-D434D0DE4BE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C731D1-00A8-4565-A437-8595C7E6650E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7ECD6034-AE10-44AD-8FB1-7887B1710C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3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1756231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Picture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3732A3-306E-480E-A183-4093F0BA7DEA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791A77E-A9F3-439D-B41C-153F4D9DA6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682496"/>
            <a:ext cx="5996902" cy="442569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3101BBA-D0AC-40A0-823F-9602CC0602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96859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6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76679"/>
            <a:ext cx="3583515" cy="21579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0" y="4098771"/>
            <a:ext cx="3583515" cy="201167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14844" y="1676679"/>
            <a:ext cx="3583515" cy="21579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F3A29B0-716A-4C35-A013-3FAC88D7A80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314844" y="4096513"/>
            <a:ext cx="3583515" cy="201167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44F57E95-9B34-49D0-B2D5-56ED760D9CA1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05568" y="1682496"/>
            <a:ext cx="3583515" cy="21579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EF22231-FA42-42CF-AB2B-892F463A81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05568" y="4096512"/>
            <a:ext cx="3583515" cy="2011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366D76-6B79-48C4-8251-348E1555D51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C8D6D6-7FF6-449D-9219-4E96EBA4FD1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9F1CC7F-1769-4309-B028-FCCD6DB279B4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402C49C4-4B74-4AA3-BB68-2300CD8650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6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398661998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01" indent="-304701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01" indent="-304701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02" indent="-304701">
              <a:buSzPct val="90000"/>
              <a:buFont typeface="Arial" panose="020B0604020202020204" pitchFamily="34" charset="0"/>
              <a:buChar char="–"/>
              <a:defRPr sz="1866"/>
            </a:lvl4pPr>
            <a:lvl5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03" indent="-304701">
              <a:buFont typeface="Courier New" panose="02070309020205020404" pitchFamily="49" charset="0"/>
              <a:buChar char="o"/>
              <a:defRPr sz="1866"/>
            </a:lvl7pPr>
            <a:lvl8pPr marL="914103" indent="-304701">
              <a:buFont typeface="Courier New" panose="02070309020205020404" pitchFamily="49" charset="0"/>
              <a:buChar char="o"/>
              <a:defRPr sz="1866"/>
            </a:lvl8pPr>
            <a:lvl9pPr marL="914103" indent="-304701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8BD2276-8977-4766-9164-0C1C18520B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3629473545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01" indent="-304701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01" indent="-304701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02" indent="-304701">
              <a:buSzPct val="90000"/>
              <a:buFont typeface="Arial" panose="020B0604020202020204" pitchFamily="34" charset="0"/>
              <a:buChar char="–"/>
              <a:defRPr sz="1866"/>
            </a:lvl4pPr>
            <a:lvl5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03" indent="-304701">
              <a:buFont typeface="Courier New" panose="02070309020205020404" pitchFamily="49" charset="0"/>
              <a:buChar char="o"/>
              <a:defRPr sz="1866"/>
            </a:lvl7pPr>
            <a:lvl8pPr marL="914103" indent="-304701">
              <a:buFont typeface="Courier New" panose="02070309020205020404" pitchFamily="49" charset="0"/>
              <a:buChar char="o"/>
              <a:defRPr sz="1866"/>
            </a:lvl8pPr>
            <a:lvl9pPr marL="914103" indent="-304701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0A897C52-38E8-4C02-B11A-8278FD59AD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4112" y="1682495"/>
            <a:ext cx="5984713" cy="4425696"/>
          </a:xfrm>
        </p:spPr>
        <p:txBody>
          <a:bodyPr anchor="ctr"/>
          <a:lstStyle>
            <a:lvl1pPr marL="0" marR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E6D374-812D-46BD-ACCF-706447B9BF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3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1769056740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01" indent="-304701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01" indent="-304701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02" indent="-304701">
              <a:buSzPct val="90000"/>
              <a:buFont typeface="Arial" panose="020B0604020202020204" pitchFamily="34" charset="0"/>
              <a:buChar char="–"/>
              <a:defRPr sz="1866"/>
            </a:lvl4pPr>
            <a:lvl5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03" indent="-304701">
              <a:buFont typeface="Courier New" panose="02070309020205020404" pitchFamily="49" charset="0"/>
              <a:buChar char="o"/>
              <a:defRPr sz="1866"/>
            </a:lvl7pPr>
            <a:lvl8pPr marL="914103" indent="-304701">
              <a:buFont typeface="Courier New" panose="02070309020205020404" pitchFamily="49" charset="0"/>
              <a:buChar char="o"/>
              <a:defRPr sz="1866"/>
            </a:lvl8pPr>
            <a:lvl9pPr marL="914103" indent="-304701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C20B5319-2B45-4252-BEAB-FDF0E14B7070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6204112" y="1682496"/>
            <a:ext cx="5984713" cy="44256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Insert Media he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8E423FB-65E5-44B7-A219-A6E67DC3F2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3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40245718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01" indent="-304701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01" indent="-304701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02" indent="-304701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03" indent="-304701">
              <a:buClrTx/>
              <a:buFont typeface="Courier New" panose="02070309020205020404" pitchFamily="49" charset="0"/>
              <a:buChar char="o"/>
              <a:defRPr sz="1866"/>
            </a:lvl7pPr>
            <a:lvl8pPr marL="914103" indent="-304701">
              <a:buClrTx/>
              <a:buFont typeface="Courier New" panose="02070309020205020404" pitchFamily="49" charset="0"/>
              <a:buChar char="o"/>
              <a:defRPr sz="1866"/>
            </a:lvl8pPr>
            <a:lvl9pPr marL="914103" indent="-304701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A665A60-4126-4C36-935C-5B20305506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404253247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Picture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01" indent="-304701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01" indent="-304701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02" indent="-304701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03" indent="-304701">
              <a:buClrTx/>
              <a:buFont typeface="Courier New" panose="02070309020205020404" pitchFamily="49" charset="0"/>
              <a:buChar char="o"/>
              <a:defRPr sz="1866"/>
            </a:lvl7pPr>
            <a:lvl8pPr marL="914103" indent="-304701">
              <a:buClrTx/>
              <a:buFont typeface="Courier New" panose="02070309020205020404" pitchFamily="49" charset="0"/>
              <a:buChar char="o"/>
              <a:defRPr sz="1866"/>
            </a:lvl8pPr>
            <a:lvl9pPr marL="914103" indent="-304701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791A77E-A9F3-439D-B41C-153F4D9DA6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682496"/>
            <a:ext cx="5996902" cy="442569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3101BBA-D0AC-40A0-823F-9602CC0602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3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292494610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Media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01" indent="-304701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01" indent="-304701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02" indent="-304701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03" indent="-304701">
              <a:buClrTx/>
              <a:buFont typeface="Courier New" panose="02070309020205020404" pitchFamily="49" charset="0"/>
              <a:buChar char="o"/>
              <a:defRPr sz="1866"/>
            </a:lvl7pPr>
            <a:lvl8pPr marL="914103" indent="-304701">
              <a:buClrTx/>
              <a:buFont typeface="Courier New" panose="02070309020205020404" pitchFamily="49" charset="0"/>
              <a:buChar char="o"/>
              <a:defRPr sz="1866"/>
            </a:lvl8pPr>
            <a:lvl9pPr marL="914103" indent="-304701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7A841180-8D0B-4829-9826-A334842E6739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0" y="1682496"/>
            <a:ext cx="5996902" cy="4425696"/>
          </a:xfrm>
        </p:spPr>
        <p:txBody>
          <a:bodyPr anchor="ctr"/>
          <a:lstStyle>
            <a:lvl1pPr marL="0" marR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0714AE5-4850-4466-8C9F-DD59FC000F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1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139356812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vanc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C81C643-B400-4457-BA76-DC5CEB304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31448" cy="6858000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677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33" indent="-308933">
              <a:buNone/>
              <a:defRPr sz="5865">
                <a:solidFill>
                  <a:schemeClr val="tx1"/>
                </a:solidFill>
              </a:defRPr>
            </a:lvl2pPr>
            <a:lvl3pPr marL="304701" indent="-304701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6pPr>
            <a:lvl7pPr marL="0" indent="0">
              <a:buClrTx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313295" y="6400800"/>
            <a:ext cx="121888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986777" y="6400800"/>
            <a:ext cx="609441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© 2019 Cogniza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white"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1986778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20ADF0C-4BBB-45C4-865D-6FA4EAC379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62231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33" indent="-308933">
              <a:buNone/>
              <a:defRPr sz="5865">
                <a:solidFill>
                  <a:schemeClr val="tx1"/>
                </a:solidFill>
              </a:defRPr>
            </a:lvl2pPr>
            <a:lvl3pPr marL="304701" indent="-304701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63F996-94D9-4E07-B4CD-3CF1568075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1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262265585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/ 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bg1"/>
                </a:solidFill>
              </a:defRPr>
            </a:lvl1pPr>
            <a:lvl2pPr marL="308933" indent="-308933">
              <a:buNone/>
              <a:defRPr sz="5865">
                <a:solidFill>
                  <a:schemeClr val="bg1"/>
                </a:solidFill>
              </a:defRPr>
            </a:lvl2pPr>
            <a:lvl3pPr marL="304701" indent="-304701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518" y="6400800"/>
            <a:ext cx="6094413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© 2019 Cogniza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0A6E3-DE2F-40B3-955E-42C3550BD2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1653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5F1FCDD-9A69-4405-B89F-CFDAF1874A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88825" cy="68681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6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5245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Media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58C28-6D82-4CDA-99BC-649955BB24B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7A841180-8D0B-4829-9826-A334842E6739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0" y="1682496"/>
            <a:ext cx="5996902" cy="4425696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0714AE5-4850-4466-8C9F-DD59FC000F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62471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E48B4-F4ED-4DA0-AE35-136D1133A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65DC66A-BAB7-4355-9ED4-0CA743C61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049D8E0-67E3-4D7E-847C-95CFA1F84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E5CE040-C0D3-40BD-8063-A2DF101E8B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117053772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5A1AF48-9BFD-46FF-86A7-B55749512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2" y="365760"/>
            <a:ext cx="11173672" cy="1060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0A9DCA-C8FA-4C09-B99A-DC34A0B429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D1AAD6-6BF9-44BD-8B5E-441D9E17EC6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E2704D-D973-44F5-AFE3-5458B42961F6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9E830F-3EEF-43CF-8DA5-7C9FAB97A0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1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407756816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9723C8-B7B3-4950-BDEC-A8C820F2E9F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CF68D0-3D52-4AAE-BAD5-E685A44EC4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AC0B7B8-5D2E-4DC2-8ED6-129DC4E412E4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555C70-7666-4B1C-BD96-58FC37C94F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4112549479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" y="4267200"/>
            <a:ext cx="12188824" cy="18288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A6472576-AA86-442F-942A-4D33C4E2B31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1930" y="365760"/>
            <a:ext cx="11177153" cy="365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071916-F690-4209-B46C-EC1B2FCDBE7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C8C4C5-03BD-4CB4-9145-5AD4CD061F5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0861592-E564-44B4-A852-0D4E56011C1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2063E46-1CE4-4B18-8360-8C206F79FA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1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341312057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D9B5BD-B7AB-4911-895E-9E202985C1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981F65-3889-43EC-925C-AE198E6C39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BA89284-C4DA-40FB-8673-D09F327E1187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E404F8E-3569-4CB7-9779-AC1B195FD6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203188545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24000"/>
            <a:ext cx="12188825" cy="4572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701FDA-857B-4B97-A1E3-A1B888D9C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2" y="365760"/>
            <a:ext cx="11173672" cy="1060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6CC38F-9F2A-422F-979B-8828A725FA8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DFD90-6BB1-437F-9F87-F0EE11D6B0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6E7E8EB-BBE8-401F-8C15-7A754DD1C2CB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82F5B8BF-A1CE-42CC-ACF4-0A5192FDE5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410123450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3"/>
            <a:ext cx="5484971" cy="573023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Media Placeholder 15">
            <a:extLst>
              <a:ext uri="{FF2B5EF4-FFF2-40B4-BE49-F238E27FC236}">
                <a16:creationId xmlns:a16="http://schemas.microsoft.com/office/drawing/2014/main" id="{CEB5CA12-0E7C-45C9-92C9-E64DA006575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5996902" cy="6096000"/>
          </a:xfrm>
        </p:spPr>
        <p:txBody>
          <a:bodyPr anchor="ctr"/>
          <a:lstStyle>
            <a:lvl1pPr marL="0" marR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9F91859-85A6-4652-BB50-DE18F40DAE1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F677D8-5DFC-45CA-854E-7E2FDF7D479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6A4D1D-419D-453A-9A35-9EF2960602A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AA30451-9D03-4FA5-AF5E-920706E8ED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97699795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1"/>
            <a:ext cx="5484971" cy="57302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E3F330-9F76-4B2D-936C-BA16606110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5997071" cy="6096000"/>
          </a:xfrm>
        </p:spPr>
        <p:txBody>
          <a:bodyPr anchor="ctr"/>
          <a:lstStyle>
            <a:lvl1pPr marL="0" marR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C1D49F-49AB-492E-AADA-3FDC394DFDF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0EC04C-1500-45F6-8042-1CE988757A4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92DAA9B-CFA7-4AA1-B116-CD98263A729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3F9A740-E5A2-4D3A-836A-46E192FC21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188851373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7969"/>
            <a:ext cx="12174665" cy="68500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6651" y="2438400"/>
            <a:ext cx="10360501" cy="438912"/>
          </a:xfrm>
        </p:spPr>
        <p:txBody>
          <a:bodyPr anchor="b" anchorCtr="0">
            <a:noAutofit/>
          </a:bodyPr>
          <a:lstStyle>
            <a:lvl1pPr>
              <a:defRPr sz="426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6651" y="3255264"/>
            <a:ext cx="10360501" cy="841248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666">
                <a:solidFill>
                  <a:schemeClr val="tx1"/>
                </a:solidFill>
              </a:defRPr>
            </a:lvl1pPr>
            <a:lvl2pPr marL="0" indent="0">
              <a:buNone/>
              <a:defRPr sz="2666">
                <a:solidFill>
                  <a:schemeClr val="tx1"/>
                </a:solidFill>
              </a:defRPr>
            </a:lvl2pPr>
            <a:lvl3pPr marL="0" indent="0">
              <a:buNone/>
              <a:defRPr sz="2666">
                <a:solidFill>
                  <a:schemeClr val="tx1"/>
                </a:solidFill>
              </a:defRPr>
            </a:lvl3pPr>
            <a:lvl4pPr marL="0" indent="0">
              <a:buNone/>
              <a:defRPr sz="2666">
                <a:solidFill>
                  <a:schemeClr val="tx1"/>
                </a:solidFill>
              </a:defRPr>
            </a:lvl4pPr>
            <a:lvl5pPr marL="0" indent="0">
              <a:buNone/>
              <a:defRPr sz="2666">
                <a:solidFill>
                  <a:schemeClr val="tx1"/>
                </a:solidFill>
              </a:defRPr>
            </a:lvl5pPr>
            <a:lvl6pPr marL="0" indent="0">
              <a:buNone/>
              <a:defRPr sz="2666">
                <a:solidFill>
                  <a:schemeClr val="tx1"/>
                </a:solidFill>
              </a:defRPr>
            </a:lvl6pPr>
            <a:lvl7pPr marL="0" indent="0">
              <a:buNone/>
              <a:defRPr sz="2666">
                <a:solidFill>
                  <a:schemeClr val="tx1"/>
                </a:solidFill>
              </a:defRPr>
            </a:lvl7pPr>
            <a:lvl8pPr marL="0" indent="0">
              <a:buNone/>
              <a:defRPr sz="2666">
                <a:solidFill>
                  <a:schemeClr val="tx1"/>
                </a:solidFill>
              </a:defRPr>
            </a:lvl8pPr>
            <a:lvl9pPr marL="0" indent="0">
              <a:buNone/>
              <a:defRPr sz="2666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Email (optional)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782958" y="-1296363"/>
            <a:ext cx="1846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399" dirty="0" err="1">
              <a:solidFill>
                <a:schemeClr val="tx2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 userDrawn="1"/>
        </p:nvCxnSpPr>
        <p:spPr>
          <a:xfrm>
            <a:off x="814639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8390745" y="512064"/>
            <a:ext cx="3180379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30228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12360B2-C043-C243-A8ED-35576E03D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" y="0"/>
            <a:ext cx="1218882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594875"/>
            <a:ext cx="10593523" cy="820546"/>
          </a:xfrm>
        </p:spPr>
        <p:txBody>
          <a:bodyPr wrap="square" anchor="b">
            <a:spAutoFit/>
          </a:bodyPr>
          <a:lstStyle>
            <a:lvl1pPr algn="l">
              <a:defRPr sz="5332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3815871"/>
            <a:ext cx="6703854" cy="1005404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732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F9D6A9C-5685-DB4A-940D-0A166FC53689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2" y="3626571"/>
            <a:ext cx="905898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47223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vanc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C81C643-B400-4457-BA76-DC5CEB304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31449" cy="6858000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677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56" indent="-308956">
              <a:buNone/>
              <a:defRPr sz="5865">
                <a:solidFill>
                  <a:schemeClr val="tx1"/>
                </a:solidFill>
              </a:defRPr>
            </a:lvl2pPr>
            <a:lvl3pPr marL="304724" indent="-304724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6pPr>
            <a:lvl7pPr marL="0" indent="0">
              <a:buClrTx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313295" y="6400800"/>
            <a:ext cx="121888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C94624-3DA0-49E6-B632-003C396656D1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986777" y="6400800"/>
            <a:ext cx="609441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white"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1986777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20ADF0C-4BBB-45C4-865D-6FA4EAC379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072310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1"/>
            <a:ext cx="11177153" cy="41036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66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193800"/>
            <a:ext cx="11177153" cy="442569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8989968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1930" y="6400800"/>
            <a:ext cx="304721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CDE3006-3C2F-F84C-A081-B5A7EB14C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D4DC6B4-A7B2-1948-B033-FC7F81ECAC94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056481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B9EC9720-0962-014C-ACB4-2469F1EAF9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8B0FE3D-9675-5C43-9A68-E0E027F9C1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3688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B9EC9720-0962-014C-ACB4-2469F1EAF9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65689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BDEE31-86AB-1348-AEB5-ECBCE43533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07868" y="2312698"/>
            <a:ext cx="10593523" cy="820546"/>
          </a:xfrm>
        </p:spPr>
        <p:txBody>
          <a:bodyPr wrap="square" anchor="b">
            <a:spAutoFit/>
          </a:bodyPr>
          <a:lstStyle>
            <a:lvl1pPr algn="l">
              <a:defRPr sz="5332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ivider Title Goes 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DA83589-701D-0642-8F29-579DE771E61C}"/>
              </a:ext>
            </a:extLst>
          </p:cNvPr>
          <p:cNvCxnSpPr>
            <a:cxnSpLocks/>
          </p:cNvCxnSpPr>
          <p:nvPr userDrawn="1"/>
        </p:nvCxnSpPr>
        <p:spPr bwMode="white">
          <a:xfrm flipH="1">
            <a:off x="507869" y="2156913"/>
            <a:ext cx="10279502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880963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12360B2-C043-C243-A8ED-35576E03D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" y="0"/>
            <a:ext cx="12188826" cy="6858000"/>
          </a:xfrm>
          <a:prstGeom prst="rect">
            <a:avLst/>
          </a:prstGeom>
        </p:spPr>
      </p:pic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038163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&amp; Numbered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9DB8076-7A15-294B-9F29-3AD917EBD4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E686D16-B817-4FD7-91EF-E75DCEECBD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03805" y="1809224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58" indent="-377858">
              <a:spcBef>
                <a:spcPts val="0"/>
              </a:spcBef>
              <a:buFont typeface="+mj-lt"/>
              <a:buAutoNum type="arabicPeriod"/>
              <a:defRPr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lang="en-US" sz="1866" baseline="0" noProof="0" dirty="0">
                <a:solidFill>
                  <a:schemeClr val="tx2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A6EE624-9DEC-AB48-B64E-E6E983872DC4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552304" y="1471788"/>
            <a:ext cx="848758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5C99D996-401C-B345-91D7-5E3D59498BBA}"/>
              </a:ext>
            </a:extLst>
          </p:cNvPr>
          <p:cNvSpPr/>
          <p:nvPr userDrawn="1"/>
        </p:nvSpPr>
        <p:spPr>
          <a:xfrm>
            <a:off x="503805" y="432689"/>
            <a:ext cx="2693366" cy="91287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5332" b="1" dirty="0">
                <a:solidFill>
                  <a:schemeClr val="tx2"/>
                </a:solidFill>
              </a:rPr>
              <a:t>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874515-8BC9-E742-8E82-6CA0A2655E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3121" y="6379653"/>
            <a:ext cx="1718578" cy="365751"/>
          </a:xfrm>
          <a:prstGeom prst="rect">
            <a:avLst/>
          </a:prstGeom>
        </p:spPr>
      </p:pic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9B55D8F4-7C00-A945-B181-3419E2C8C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sp>
        <p:nvSpPr>
          <p:cNvPr id="11" name="Slide Number Placeholder 9">
            <a:extLst>
              <a:ext uri="{FF2B5EF4-FFF2-40B4-BE49-F238E27FC236}">
                <a16:creationId xmlns:a16="http://schemas.microsoft.com/office/drawing/2014/main" id="{C8A2C78D-0E99-3D46-85C8-7F3DBA884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1930" y="6400800"/>
            <a:ext cx="304721" cy="207264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10816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2569E44-C137-3C42-84C2-936B7B239A15}"/>
              </a:ext>
            </a:extLst>
          </p:cNvPr>
          <p:cNvSpPr/>
          <p:nvPr userDrawn="1"/>
        </p:nvSpPr>
        <p:spPr>
          <a:xfrm rot="10800000">
            <a:off x="-5587" y="-8104"/>
            <a:ext cx="12194412" cy="6866104"/>
          </a:xfrm>
          <a:prstGeom prst="rect">
            <a:avLst/>
          </a:prstGeom>
          <a:gradFill>
            <a:gsLst>
              <a:gs pos="76000">
                <a:schemeClr val="accent1"/>
              </a:gs>
              <a:gs pos="0">
                <a:schemeClr val="accent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744" dirty="0"/>
          </a:p>
        </p:txBody>
      </p:sp>
      <p:sp>
        <p:nvSpPr>
          <p:cNvPr id="5" name="Date Placeholder 5">
            <a:extLst>
              <a:ext uri="{FF2B5EF4-FFF2-40B4-BE49-F238E27FC236}">
                <a16:creationId xmlns:a16="http://schemas.microsoft.com/office/drawing/2014/main" id="{1F70E9D6-43EC-0241-BC44-FD47F28691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13295" y="6400800"/>
            <a:ext cx="1218883" cy="207264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Footer Placeholder 6">
            <a:extLst>
              <a:ext uri="{FF2B5EF4-FFF2-40B4-BE49-F238E27FC236}">
                <a16:creationId xmlns:a16="http://schemas.microsoft.com/office/drawing/2014/main" id="{01D600B3-A7F4-0941-870B-67C380967D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163D4327-3D35-AD4E-808A-738B44FCDC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1930" y="6400800"/>
            <a:ext cx="304721" cy="207264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8263324-F4C4-E749-86B9-D270983C126B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995CFD4-96B5-8C42-A808-6C280E38F5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3121" y="6379653"/>
            <a:ext cx="1718578" cy="36575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45249E6-CF45-F94B-9622-B5CA9AEEE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1"/>
            <a:ext cx="11177153" cy="41036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666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25715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2569E44-C137-3C42-84C2-936B7B239A15}"/>
              </a:ext>
            </a:extLst>
          </p:cNvPr>
          <p:cNvSpPr/>
          <p:nvPr userDrawn="1"/>
        </p:nvSpPr>
        <p:spPr>
          <a:xfrm rot="10800000">
            <a:off x="-5587" y="-8104"/>
            <a:ext cx="12194412" cy="6866104"/>
          </a:xfrm>
          <a:prstGeom prst="rect">
            <a:avLst/>
          </a:prstGeom>
          <a:gradFill>
            <a:gsLst>
              <a:gs pos="76000">
                <a:schemeClr val="accent1"/>
              </a:gs>
              <a:gs pos="0">
                <a:schemeClr val="accent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744" dirty="0"/>
          </a:p>
        </p:txBody>
      </p:sp>
    </p:spTree>
    <p:extLst>
      <p:ext uri="{BB962C8B-B14F-4D97-AF65-F5344CB8AC3E}">
        <p14:creationId xmlns:p14="http://schemas.microsoft.com/office/powerpoint/2010/main" val="312705034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C176590-7EB0-0641-9AEF-A5D2C4CD0B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  <p:sp>
        <p:nvSpPr>
          <p:cNvPr id="6" name="Date Placeholder 7">
            <a:extLst>
              <a:ext uri="{FF2B5EF4-FFF2-40B4-BE49-F238E27FC236}">
                <a16:creationId xmlns:a16="http://schemas.microsoft.com/office/drawing/2014/main" id="{2F2C37E3-AF9A-1F47-A086-AAD77EDAA5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0DF05A81-9F01-8040-A9B2-46004B5E90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7452993E-D947-0342-AF06-85D233EF3B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00C6266-0016-AF4E-9B0A-0A5201FDE6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5AE9F84-71AE-024B-BE95-03E0C1A82BC0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05373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8AAE8289-DD47-D144-81DF-156E3AE273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AF5C070-7E03-2942-B54C-3B82309EAB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3121" y="6379653"/>
            <a:ext cx="1718578" cy="365751"/>
          </a:xfrm>
          <a:prstGeom prst="rect">
            <a:avLst/>
          </a:prstGeom>
          <a:effectLst>
            <a:outerShdw blurRad="12700" dist="38100" dir="5400000" sx="90000" sy="90000" algn="t" rotWithShape="0">
              <a:prstClr val="black">
                <a:alpha val="4000"/>
              </a:prstClr>
            </a:outerShdw>
          </a:effec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36FE5A3-D65C-3043-AC3E-4E7F904CC3C8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552304" y="1959468"/>
            <a:ext cx="8487584" cy="0"/>
          </a:xfrm>
          <a:prstGeom prst="line">
            <a:avLst/>
          </a:prstGeom>
          <a:ln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35CDD119-9902-E141-8533-B71559B5860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07868" y="2187702"/>
            <a:ext cx="10593523" cy="820546"/>
          </a:xfrm>
        </p:spPr>
        <p:txBody>
          <a:bodyPr wrap="square" anchor="b">
            <a:spAutoFit/>
          </a:bodyPr>
          <a:lstStyle>
            <a:lvl1pPr algn="l">
              <a:defRPr sz="5332" b="1" i="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Title Goes Here</a:t>
            </a:r>
          </a:p>
        </p:txBody>
      </p:sp>
      <p:sp>
        <p:nvSpPr>
          <p:cNvPr id="11" name="Date Placeholder 7">
            <a:extLst>
              <a:ext uri="{FF2B5EF4-FFF2-40B4-BE49-F238E27FC236}">
                <a16:creationId xmlns:a16="http://schemas.microsoft.com/office/drawing/2014/main" id="{FFA550FE-0F59-184C-8F71-2160F61984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Footer Placeholder 8">
            <a:extLst>
              <a:ext uri="{FF2B5EF4-FFF2-40B4-BE49-F238E27FC236}">
                <a16:creationId xmlns:a16="http://schemas.microsoft.com/office/drawing/2014/main" id="{AD57ECE9-5D31-3447-A27C-E28410CFA3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sp>
        <p:nvSpPr>
          <p:cNvPr id="13" name="Slide Number Placeholder 9">
            <a:extLst>
              <a:ext uri="{FF2B5EF4-FFF2-40B4-BE49-F238E27FC236}">
                <a16:creationId xmlns:a16="http://schemas.microsoft.com/office/drawing/2014/main" id="{94A92B65-9073-714C-8832-DB92757BEC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32151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56" indent="-308956">
              <a:buNone/>
              <a:defRPr sz="5865">
                <a:solidFill>
                  <a:schemeClr val="tx1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585842-DBA6-46BB-B99E-ED1F2ADC75F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518" y="6400800"/>
            <a:ext cx="609441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63F996-94D9-4E07-B4CD-3CF1568075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00729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Header &amp; 1-Column">
    <p:bg>
      <p:bgPr>
        <a:solidFill>
          <a:schemeClr val="tx2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E18E0336-BC1E-A142-A764-8EB3BEF13E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9382167" cy="207264"/>
          </a:xfrm>
        </p:spPr>
        <p:txBody>
          <a:bodyPr/>
          <a:lstStyle>
            <a:lvl1pPr algn="l">
              <a:defRPr sz="1066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sp>
        <p:nvSpPr>
          <p:cNvPr id="4" name="Slide Number Placeholder 9">
            <a:extLst>
              <a:ext uri="{FF2B5EF4-FFF2-40B4-BE49-F238E27FC236}">
                <a16:creationId xmlns:a16="http://schemas.microsoft.com/office/drawing/2014/main" id="{795AB87B-A889-274F-9DA6-12B24B7918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193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552893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Layou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1"/>
            <a:ext cx="11177153" cy="410241"/>
          </a:xfrm>
        </p:spPr>
        <p:txBody>
          <a:bodyPr>
            <a:spAutoFit/>
          </a:bodyPr>
          <a:lstStyle>
            <a:lvl1pPr>
              <a:defRPr sz="266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337345"/>
            <a:ext cx="11177153" cy="4425696"/>
          </a:xfrm>
        </p:spPr>
        <p:txBody>
          <a:bodyPr>
            <a:normAutofit/>
          </a:bodyPr>
          <a:lstStyle>
            <a:lvl1pPr>
              <a:defRPr sz="1866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66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CDE3006-3C2F-F84C-A081-B5A7EB14C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D4DC6B4-A7B2-1948-B033-FC7F81ECAC94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7B1799-5671-4E4A-9EA3-C2ABDFB123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5753" y="825290"/>
            <a:ext cx="11177322" cy="357515"/>
          </a:xfrm>
        </p:spPr>
        <p:txBody>
          <a:bodyPr>
            <a:normAutofit/>
          </a:bodyPr>
          <a:lstStyle>
            <a:lvl1pPr>
              <a:defRPr sz="2133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471915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1"/>
            <a:ext cx="11177153" cy="410241"/>
          </a:xfrm>
        </p:spPr>
        <p:txBody>
          <a:bodyPr>
            <a:spAutoFit/>
          </a:bodyPr>
          <a:lstStyle>
            <a:lvl1pPr>
              <a:defRPr sz="266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1" y="1337345"/>
            <a:ext cx="5372987" cy="442569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CDE3006-3C2F-F84C-A081-B5A7EB14C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D4DC6B4-A7B2-1948-B033-FC7F81ECAC94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BF4A7D5-A9A4-D742-B109-C7B2BBE3A34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9405" y="1337345"/>
            <a:ext cx="5372987" cy="442569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579716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13A4B907-1218-4E4A-82F1-642F8017D3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1"/>
            <a:ext cx="11177153" cy="410241"/>
          </a:xfrm>
        </p:spPr>
        <p:txBody>
          <a:bodyPr>
            <a:spAutoFit/>
          </a:bodyPr>
          <a:lstStyle>
            <a:lvl1pPr>
              <a:defRPr sz="2666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337345"/>
            <a:ext cx="11177153" cy="4425696"/>
          </a:xfrm>
        </p:spPr>
        <p:txBody>
          <a:bodyPr/>
          <a:lstStyle>
            <a:lvl1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E50ABCD-AE6B-3944-94D4-650FD3CEFB66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3BDFF969-16B1-4043-AB0B-642C2E9380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3121" y="6379653"/>
            <a:ext cx="1718578" cy="365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46473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E43B87D-A0F4-A145-BCBE-88325C169FEF}"/>
              </a:ext>
            </a:extLst>
          </p:cNvPr>
          <p:cNvSpPr/>
          <p:nvPr userDrawn="1"/>
        </p:nvSpPr>
        <p:spPr>
          <a:xfrm>
            <a:off x="0" y="5410200"/>
            <a:ext cx="12188825" cy="144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6" dirty="0"/>
          </a:p>
        </p:txBody>
      </p:sp>
    </p:spTree>
    <p:extLst>
      <p:ext uri="{BB962C8B-B14F-4D97-AF65-F5344CB8AC3E}">
        <p14:creationId xmlns:p14="http://schemas.microsoft.com/office/powerpoint/2010/main" val="93859048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5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5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FA910F-3277-4B3E-A9EE-D900AE3E1F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12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66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506435" y="234866"/>
            <a:ext cx="11175956" cy="41036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5227" y="51835"/>
            <a:ext cx="123124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751"/>
            <a:endParaRPr lang="x-none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5968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505835" y="6254495"/>
            <a:ext cx="11176475" cy="0"/>
          </a:xfrm>
          <a:custGeom>
            <a:avLst/>
            <a:gdLst/>
            <a:ahLst/>
            <a:cxnLst/>
            <a:rect l="l" t="t" r="r" b="b"/>
            <a:pathLst>
              <a:path w="8384540">
                <a:moveTo>
                  <a:pt x="0" y="0"/>
                </a:moveTo>
                <a:lnTo>
                  <a:pt x="8384158" y="0"/>
                </a:lnTo>
              </a:path>
            </a:pathLst>
          </a:custGeom>
          <a:ln w="9144">
            <a:solidFill>
              <a:srgbClr val="00B040"/>
            </a:solidFill>
          </a:ln>
        </p:spPr>
        <p:txBody>
          <a:bodyPr wrap="square" lIns="0" tIns="0" rIns="0" bIns="0" rtlCol="0"/>
          <a:lstStyle/>
          <a:p>
            <a:endParaRPr sz="1866" dirty="0"/>
          </a:p>
        </p:txBody>
      </p:sp>
      <p:sp>
        <p:nvSpPr>
          <p:cNvPr id="17" name="bk object 17"/>
          <p:cNvSpPr/>
          <p:nvPr/>
        </p:nvSpPr>
        <p:spPr>
          <a:xfrm>
            <a:off x="9978585" y="6374381"/>
            <a:ext cx="1704404" cy="36576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66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66" b="0" i="0">
                <a:solidFill>
                  <a:srgbClr val="00339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441" y="1577340"/>
            <a:ext cx="5302139" cy="3692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20534" y="2381165"/>
            <a:ext cx="5280130" cy="2871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66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|    © 2019 Cognizant - Confidential or Trade Secret</a:t>
            </a:r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00339F"/>
                </a:solidFill>
                <a:latin typeface="Arial"/>
                <a:cs typeface="Arial"/>
              </a:defRPr>
            </a:lvl1pPr>
          </a:lstStyle>
          <a:p>
            <a:pPr marL="33858">
              <a:spcBef>
                <a:spcPts val="33"/>
              </a:spcBef>
              <a:tabLst>
                <a:tab pos="380058" algn="l"/>
              </a:tabLst>
            </a:pPr>
            <a:fld id="{81D60167-4931-47E6-BA6A-407CBD079E47}" type="slidenum">
              <a:rPr lang="en-US" sz="1066" smtClean="0">
                <a:solidFill>
                  <a:srgbClr val="808080"/>
                </a:solidFill>
              </a:rPr>
              <a:pPr marL="33858">
                <a:spcBef>
                  <a:spcPts val="33"/>
                </a:spcBef>
                <a:tabLst>
                  <a:tab pos="380058" algn="l"/>
                </a:tabLst>
              </a:pPr>
              <a:t>‹#›</a:t>
            </a:fld>
            <a:r>
              <a:rPr lang="en-US" sz="1066">
                <a:solidFill>
                  <a:srgbClr val="808080"/>
                </a:solidFill>
              </a:rPr>
              <a:t>	</a:t>
            </a:r>
            <a:r>
              <a:rPr lang="en-US"/>
              <a:t>© 2019</a:t>
            </a:r>
            <a:r>
              <a:rPr lang="en-US" spc="-87"/>
              <a:t> </a:t>
            </a:r>
            <a:r>
              <a:rPr lang="en-US" spc="-7"/>
              <a:t>Cognizant</a:t>
            </a:r>
            <a:endParaRPr lang="en-US" sz="1066" dirty="0"/>
          </a:p>
        </p:txBody>
      </p:sp>
    </p:spTree>
    <p:extLst>
      <p:ext uri="{BB962C8B-B14F-4D97-AF65-F5344CB8AC3E}">
        <p14:creationId xmlns:p14="http://schemas.microsoft.com/office/powerpoint/2010/main" val="281813669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4BA977D-F01B-45A3-A788-241A0D7E09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35981"/>
            <a:ext cx="12188825" cy="9220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B63AD2-13B3-4C1A-81A7-6B8DAA7875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609443" y="512064"/>
            <a:ext cx="3180379" cy="6827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09441" y="2255521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09441" y="4157474"/>
            <a:ext cx="6703854" cy="718145"/>
          </a:xfrm>
        </p:spPr>
        <p:txBody>
          <a:bodyPr>
            <a:spAutoFit/>
          </a:bodyPr>
          <a:lstStyle>
            <a:lvl1pPr marL="0" marR="0" indent="0" algn="l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tx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2pPr>
            <a:lvl3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000000">
                    <a:tint val="75000"/>
                  </a:srgbClr>
                </a:solidFill>
              </a:rPr>
              <a:t>© 2019 Cognizan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2D38650-2189-4A4F-AD30-9C41C4094C5F}"/>
              </a:ext>
            </a:extLst>
          </p:cNvPr>
          <p:cNvCxnSpPr>
            <a:cxnSpLocks/>
          </p:cNvCxnSpPr>
          <p:nvPr/>
        </p:nvCxnSpPr>
        <p:spPr bwMode="black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402821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5F1FCDD-9A69-4405-B89F-CFDAF1874A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0160"/>
            <a:ext cx="12188825" cy="68681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7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4"/>
            <a:ext cx="6703854" cy="718145"/>
          </a:xfrm>
        </p:spPr>
        <p:txBody>
          <a:bodyPr>
            <a:spAutoFit/>
          </a:bodyPr>
          <a:lstStyle>
            <a:lvl1pPr marL="0" marR="0" indent="0" algn="l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rgbClr val="000210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/>
        </p:nvCxnSpPr>
        <p:spPr bwMode="white">
          <a:xfrm>
            <a:off x="609441" y="3904765"/>
            <a:ext cx="304720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443" y="512064"/>
            <a:ext cx="3180379" cy="68275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91823" y="6276783"/>
            <a:ext cx="25635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121880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/>
              </a:rPr>
              <a:t>© 2019 Cognizant </a:t>
            </a:r>
          </a:p>
        </p:txBody>
      </p:sp>
    </p:spTree>
    <p:extLst>
      <p:ext uri="{BB962C8B-B14F-4D97-AF65-F5344CB8AC3E}">
        <p14:creationId xmlns:p14="http://schemas.microsoft.com/office/powerpoint/2010/main" val="420608552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5982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850" y="173747"/>
            <a:ext cx="11815126" cy="1060704"/>
          </a:xfrm>
        </p:spPr>
        <p:txBody>
          <a:bodyPr>
            <a:normAutofit/>
          </a:bodyPr>
          <a:lstStyle>
            <a:lvl1pPr>
              <a:defRPr sz="2399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E669688A-77C5-4DC4-B327-717F94343A6B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t>7/11/2024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b="1">
                <a:solidFill>
                  <a:schemeClr val="accent6"/>
                </a:solidFill>
                <a:latin typeface="+mj-lt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07250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/ 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bg1"/>
                </a:solidFill>
              </a:defRPr>
            </a:lvl1pPr>
            <a:lvl2pPr marL="308956" indent="-308956">
              <a:buNone/>
              <a:defRPr sz="5865">
                <a:solidFill>
                  <a:schemeClr val="bg1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025CC0-001A-43F5-9B57-46CE61769B5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518" y="6400800"/>
            <a:ext cx="6094413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0A6E3-DE2F-40B3-955E-42C3550BD2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340846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7969"/>
            <a:ext cx="12174665" cy="68500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6651" y="2438400"/>
            <a:ext cx="10360501" cy="438912"/>
          </a:xfrm>
        </p:spPr>
        <p:txBody>
          <a:bodyPr anchor="b" anchorCtr="0">
            <a:noAutofit/>
          </a:bodyPr>
          <a:lstStyle>
            <a:lvl1pPr>
              <a:defRPr sz="426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6651" y="3255264"/>
            <a:ext cx="10360501" cy="841248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666">
                <a:solidFill>
                  <a:schemeClr val="tx1"/>
                </a:solidFill>
              </a:defRPr>
            </a:lvl1pPr>
            <a:lvl2pPr marL="0" indent="0">
              <a:buNone/>
              <a:defRPr sz="2666">
                <a:solidFill>
                  <a:schemeClr val="tx1"/>
                </a:solidFill>
              </a:defRPr>
            </a:lvl2pPr>
            <a:lvl3pPr marL="0" indent="0">
              <a:buNone/>
              <a:defRPr sz="2666">
                <a:solidFill>
                  <a:schemeClr val="tx1"/>
                </a:solidFill>
              </a:defRPr>
            </a:lvl3pPr>
            <a:lvl4pPr marL="0" indent="0">
              <a:buNone/>
              <a:defRPr sz="2666">
                <a:solidFill>
                  <a:schemeClr val="tx1"/>
                </a:solidFill>
              </a:defRPr>
            </a:lvl4pPr>
            <a:lvl5pPr marL="0" indent="0">
              <a:buNone/>
              <a:defRPr sz="2666">
                <a:solidFill>
                  <a:schemeClr val="tx1"/>
                </a:solidFill>
              </a:defRPr>
            </a:lvl5pPr>
            <a:lvl6pPr marL="0" indent="0">
              <a:buNone/>
              <a:defRPr sz="2666">
                <a:solidFill>
                  <a:schemeClr val="tx1"/>
                </a:solidFill>
              </a:defRPr>
            </a:lvl6pPr>
            <a:lvl7pPr marL="0" indent="0">
              <a:buNone/>
              <a:defRPr sz="2666">
                <a:solidFill>
                  <a:schemeClr val="tx1"/>
                </a:solidFill>
              </a:defRPr>
            </a:lvl7pPr>
            <a:lvl8pPr marL="0" indent="0">
              <a:buNone/>
              <a:defRPr sz="2666">
                <a:solidFill>
                  <a:schemeClr val="tx1"/>
                </a:solidFill>
              </a:defRPr>
            </a:lvl8pPr>
            <a:lvl9pPr marL="0" indent="0">
              <a:buNone/>
              <a:defRPr sz="2666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Email (optional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782958" y="-1296363"/>
            <a:ext cx="1846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399" dirty="0" err="1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/>
        </p:nvCxnSpPr>
        <p:spPr>
          <a:xfrm>
            <a:off x="814639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390745" y="512064"/>
            <a:ext cx="3180379" cy="6827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7969"/>
            <a:ext cx="12174665" cy="6850033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4782958" y="-1296363"/>
            <a:ext cx="1846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399">
              <a:solidFill>
                <a:srgbClr val="141414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 userDrawn="1"/>
        </p:nvCxnSpPr>
        <p:spPr>
          <a:xfrm>
            <a:off x="814639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8390745" y="512064"/>
            <a:ext cx="3180379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988119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7969"/>
            <a:ext cx="12174665" cy="685003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7969"/>
            <a:ext cx="12174665" cy="68500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6651" y="2223622"/>
            <a:ext cx="10360501" cy="653690"/>
          </a:xfrm>
        </p:spPr>
        <p:txBody>
          <a:bodyPr anchor="b" anchorCtr="0">
            <a:noAutofit/>
          </a:bodyPr>
          <a:lstStyle>
            <a:lvl1pPr>
              <a:defRPr sz="4266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6651" y="3255264"/>
            <a:ext cx="10360501" cy="841248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666">
                <a:solidFill>
                  <a:schemeClr val="accent1"/>
                </a:solidFill>
              </a:defRPr>
            </a:lvl1pPr>
            <a:lvl2pPr marL="0" indent="0">
              <a:buNone/>
              <a:defRPr sz="2666">
                <a:solidFill>
                  <a:schemeClr val="tx1"/>
                </a:solidFill>
              </a:defRPr>
            </a:lvl2pPr>
            <a:lvl3pPr marL="0" indent="0">
              <a:buNone/>
              <a:defRPr sz="2666">
                <a:solidFill>
                  <a:schemeClr val="tx1"/>
                </a:solidFill>
              </a:defRPr>
            </a:lvl3pPr>
            <a:lvl4pPr marL="0" indent="0">
              <a:buNone/>
              <a:defRPr sz="2666">
                <a:solidFill>
                  <a:schemeClr val="tx1"/>
                </a:solidFill>
              </a:defRPr>
            </a:lvl4pPr>
            <a:lvl5pPr marL="0" indent="0">
              <a:buNone/>
              <a:defRPr sz="2666">
                <a:solidFill>
                  <a:schemeClr val="tx1"/>
                </a:solidFill>
              </a:defRPr>
            </a:lvl5pPr>
            <a:lvl6pPr marL="0" indent="0">
              <a:buNone/>
              <a:defRPr sz="2666">
                <a:solidFill>
                  <a:schemeClr val="tx1"/>
                </a:solidFill>
              </a:defRPr>
            </a:lvl6pPr>
            <a:lvl7pPr marL="0" indent="0">
              <a:buNone/>
              <a:defRPr sz="2666">
                <a:solidFill>
                  <a:schemeClr val="tx1"/>
                </a:solidFill>
              </a:defRPr>
            </a:lvl7pPr>
            <a:lvl8pPr marL="0" indent="0">
              <a:buNone/>
              <a:defRPr sz="2666">
                <a:solidFill>
                  <a:schemeClr val="tx1"/>
                </a:solidFill>
              </a:defRPr>
            </a:lvl8pPr>
            <a:lvl9pPr marL="0" indent="0">
              <a:buNone/>
              <a:defRPr sz="2666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Email (optional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782958" y="-1296363"/>
            <a:ext cx="1846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399" dirty="0" err="1">
              <a:solidFill>
                <a:schemeClr val="tx2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/>
        </p:nvCxnSpPr>
        <p:spPr>
          <a:xfrm>
            <a:off x="814639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390745" y="512064"/>
            <a:ext cx="3180379" cy="68275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4782958" y="-1296363"/>
            <a:ext cx="1846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399" dirty="0" err="1">
              <a:solidFill>
                <a:schemeClr val="tx2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/>
        </p:nvCxnSpPr>
        <p:spPr>
          <a:xfrm>
            <a:off x="814639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390745" y="512064"/>
            <a:ext cx="3180379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72404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F9DBA-C480-E546-BAD9-804CFE071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448" y="601884"/>
            <a:ext cx="10512862" cy="1099595"/>
          </a:xfrm>
        </p:spPr>
        <p:txBody>
          <a:bodyPr anchor="t" anchorCtr="0">
            <a:normAutofit/>
          </a:bodyPr>
          <a:lstStyle>
            <a:lvl1pPr>
              <a:defRPr sz="27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D7C56E-6AFD-C746-8C3B-A1DE62717E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6619" y="6356351"/>
            <a:ext cx="4113728" cy="365125"/>
          </a:xfrm>
        </p:spPr>
        <p:txBody>
          <a:bodyPr/>
          <a:lstStyle>
            <a:lvl1pPr algn="l">
              <a:defRPr sz="8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BDBA9C-3D93-5D4A-B3D5-DF8E1F9B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716341" y="6356351"/>
            <a:ext cx="2742486" cy="365125"/>
          </a:xfrm>
        </p:spPr>
        <p:txBody>
          <a:bodyPr/>
          <a:lstStyle/>
          <a:p>
            <a:fld id="{393A516D-0578-BA43-A930-A25C5F9D0BF0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612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34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4BA977D-F01B-45A3-A788-241A0D7E09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935981"/>
            <a:ext cx="12188825" cy="9220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B63AD2-13B3-4C1A-81A7-6B8DAA7875C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609442" y="512064"/>
            <a:ext cx="3180378" cy="6827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09441" y="2255520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tx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Speaker’s Full Name</a:t>
            </a:r>
          </a:p>
          <a:p>
            <a:pPr lvl="1"/>
            <a:r>
              <a:rPr lang="en-US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2D38650-2189-4A4F-AD30-9C41C4094C5F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7112157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5F1FCDD-9A69-4405-B89F-CFDAF1874A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88825" cy="68681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6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Speaker’s Full Name</a:t>
            </a:r>
          </a:p>
          <a:p>
            <a:pPr lvl="1"/>
            <a:r>
              <a:rPr lang="en-US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0235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6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Speaker’s Full Name</a:t>
            </a:r>
          </a:p>
          <a:p>
            <a:pPr lvl="1"/>
            <a:r>
              <a:rPr lang="en-US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51022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icture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2BD88AD-BF9F-4A95-ACE0-0665F32F8DF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6774" y="1682496"/>
            <a:ext cx="685418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58" indent="-37785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Numbered text</a:t>
            </a:r>
          </a:p>
          <a:p>
            <a:pPr lvl="1"/>
            <a:r>
              <a:rPr lang="en-US"/>
              <a:t>Supporting text</a:t>
            </a:r>
          </a:p>
          <a:p>
            <a:pPr lvl="1"/>
            <a:endParaRPr lang="en-US"/>
          </a:p>
          <a:p>
            <a:pPr lvl="0"/>
            <a:r>
              <a:rPr lang="en-US"/>
              <a:t>Numbered text</a:t>
            </a:r>
          </a:p>
          <a:p>
            <a:pPr lvl="1"/>
            <a:r>
              <a:rPr lang="en-US"/>
              <a:t>Supporting text</a:t>
            </a:r>
          </a:p>
          <a:p>
            <a:pPr lvl="1"/>
            <a:endParaRPr lang="en-US"/>
          </a:p>
          <a:p>
            <a:pPr lvl="0"/>
            <a:r>
              <a:rPr lang="en-US"/>
              <a:t>Numbered text</a:t>
            </a:r>
          </a:p>
          <a:p>
            <a:pPr lvl="1"/>
            <a:r>
              <a:rPr lang="en-US"/>
              <a:t>Supporting text</a:t>
            </a:r>
          </a:p>
          <a:p>
            <a:pPr lvl="1"/>
            <a:endParaRPr lang="en-US"/>
          </a:p>
          <a:p>
            <a:pPr lvl="0"/>
            <a:r>
              <a:rPr lang="en-US"/>
              <a:t>Numbered text</a:t>
            </a:r>
          </a:p>
          <a:p>
            <a:pPr lvl="1"/>
            <a:r>
              <a:rPr lang="en-US"/>
              <a:t>Supporting text</a:t>
            </a:r>
          </a:p>
          <a:p>
            <a:pPr lvl="1"/>
            <a:endParaRPr lang="en-US"/>
          </a:p>
          <a:p>
            <a:pPr marL="609448" lvl="1" indent="-609448">
              <a:buNone/>
            </a:pPr>
            <a:endParaRPr kumimoji="0" lang="en-US" sz="3732" b="0" i="0" u="none" strike="noStrike" kern="1200" cap="none" spc="0" normalizeH="0" baseline="0" noProof="0">
              <a:ln>
                <a:noFill/>
              </a:ln>
              <a:solidFill>
                <a:srgbClr val="0033B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A5CEAD-8DF7-4847-A3C5-A3EBD2E6DC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07868" y="1682495"/>
            <a:ext cx="3675693" cy="4425696"/>
          </a:xfrm>
          <a:noFill/>
        </p:spPr>
        <p:txBody>
          <a:bodyPr/>
          <a:lstStyle>
            <a:lvl1pPr marL="0" marR="0" indent="0" algn="l" defTabSz="609448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609448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Drag picture to placeholder or click icon to add</a:t>
            </a:r>
          </a:p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CB4A54-5341-4A6F-9733-3D09E3B0E7F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9E508C-8E0B-469F-A2D9-AC62101F5C05}" type="datetime1">
              <a:rPr lang="en-US" smtClean="0"/>
              <a:t>7/11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9F96F16-06EB-41EA-A547-8A5407FBCF4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CDF8484-6FCC-46A8-B1A4-B877ED71BD2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F8FABAD-01EF-483E-B2EF-403B57169C4D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42CD7C5-2D34-4C27-8DA0-D81A9530F1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58099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E686D16-B817-4FD7-91EF-E75DCEECBD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03805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58" indent="-37785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Numbered text</a:t>
            </a:r>
          </a:p>
          <a:p>
            <a:pPr lvl="1"/>
            <a:r>
              <a:rPr lang="en-US"/>
              <a:t>Supporting text</a:t>
            </a:r>
          </a:p>
          <a:p>
            <a:pPr lvl="1"/>
            <a:endParaRPr lang="en-US"/>
          </a:p>
          <a:p>
            <a:pPr lvl="0"/>
            <a:r>
              <a:rPr lang="en-US"/>
              <a:t>Numbered text</a:t>
            </a:r>
          </a:p>
          <a:p>
            <a:pPr lvl="1"/>
            <a:r>
              <a:rPr lang="en-US"/>
              <a:t>Supporting text</a:t>
            </a:r>
          </a:p>
          <a:p>
            <a:pPr lvl="1"/>
            <a:endParaRPr lang="en-US"/>
          </a:p>
          <a:p>
            <a:pPr lvl="0"/>
            <a:r>
              <a:rPr lang="en-US"/>
              <a:t>Numbered text</a:t>
            </a:r>
          </a:p>
          <a:p>
            <a:pPr lvl="1"/>
            <a:r>
              <a:rPr lang="en-US"/>
              <a:t>Supporting text</a:t>
            </a:r>
          </a:p>
          <a:p>
            <a:pPr lvl="1"/>
            <a:endParaRPr lang="en-US"/>
          </a:p>
          <a:p>
            <a:pPr lvl="0"/>
            <a:r>
              <a:rPr lang="en-US"/>
              <a:t>Numbered text</a:t>
            </a:r>
          </a:p>
          <a:p>
            <a:pPr lvl="1"/>
            <a:r>
              <a:rPr lang="en-US"/>
              <a:t>Supporting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0FADBE-3030-4F6C-88B1-C1A6FD63B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A04BE0-EF35-4D6F-B801-4137CADB0D75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282AB7-CA5B-4BB2-9297-72F42A2F2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F0976E-13F2-445E-A5C4-28915A054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211AD09-EFF5-4259-BC1F-AFBAA6EE5437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5BD48D0-E8C8-4058-B322-A6DC8E33D7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260780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682496"/>
            <a:ext cx="11177153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58313F-8A13-4A41-A8D7-31FB2FB074CF}" type="datetime1">
              <a:rPr lang="en-US" smtClean="0"/>
              <a:t>7/11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95158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7C4CB0-E1A6-4DBC-8C27-B432BF957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947146-9954-4458-9279-AA08A3B071CD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9FAE45-F8BC-40F3-9164-D36C18C3F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3BC111-2740-46AF-A4EE-25875C41C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5919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E48B4-F4ED-4DA0-AE35-136D1133A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65DC66A-BAB7-4355-9ED4-0CA743C61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F7F55-C26B-48FC-B38F-777DAE6B04F4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E53A72-E1D6-4692-98EC-6243614B7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049D8E0-67E3-4D7E-847C-95CFA1F84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E5CE040-C0D3-40BD-8063-A2DF101E8B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723801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7A35C2-C0F4-49D9-B722-67323A6F7FD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9509183-A3A4-4971-BEBF-1DCDFEAEA734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8FFCDF-15C2-443A-9747-477B83B8CFC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063F49-35A6-44FE-8D1B-AF1E3728CAC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6EBED9-9EFE-447A-BEE0-FCC12D286A7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B87AFB02-A938-4E08-B29B-ED6F9D4431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97231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1/3,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7380334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31406E-2CA1-499E-A808-27B124490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6C5538-3BC1-4274-BECE-326EC075782F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5E847-C84C-457F-B901-2EEB12AD94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C10D1C-F2EA-46B6-B35A-881C8F5C6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149C702-A52C-4836-AD09-FFA898A62A9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FD43C0D-A77C-4195-A4E0-023F5CDE94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946876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7380334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C60974-838A-40CC-8A5B-B6116CA4D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1B6AA-52B4-494A-A3CC-9F631DBC049D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E2370C-3F6B-42C0-8834-DB3406097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C5B230-74A0-418F-BBA9-0B141D8CA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C70E20-6501-4F77-9CBC-3806310ED989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DDA0DA6-E3B0-4903-A9B6-BBC566D4D7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840645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69CF19-0589-4E7F-87F9-FC7CAC6AC6D8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20445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2A1A39-C278-49C1-98BD-03DFB86ACBB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A4F26AE-5454-4F9D-AAE5-D3D002DD7C9F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A52B1C-E724-479F-B20E-0E459E80FD0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78CA9C-FCAF-4B99-B5F6-60AF3219B3B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DCFE254-800B-4596-8FBC-3984CE5AE78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304A10A-1409-4F5A-9F54-EB802809A8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81186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B5CE85F-2A75-4693-93B8-CBF7927F72B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04109" y="2987040"/>
            <a:ext cx="5484971" cy="3121152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33434-287A-47FC-8826-927D06662D6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98D386E0-6517-4865-845C-C9D03EFE0238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131ED2-2FB0-4787-9839-9D3116D30B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BA36B9-835B-4A55-994F-E64CDB64656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D11681F-8020-4D84-9273-264D5F39BDA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B1E49D76-A2A1-4E8C-8CF5-299D8A1F2A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717036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09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1325C43-3F77-4CF9-8E6F-F5DB1CDCD7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11929" y="2987040"/>
            <a:ext cx="5484971" cy="3121152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33C2E1-148D-4C6B-A6B6-6408779530FF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BCD788F-B9E9-4F14-B100-50586E972F9F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F894B6-9AEC-449F-97A3-25262205013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6B10EAF-6394-4900-AC77-D434D0DE4BE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C731D1-00A8-4565-A437-8595C7E6650E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7ECD6034-AE10-44AD-8FB1-7887B1710CE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66065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6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76679"/>
            <a:ext cx="3583515" cy="21579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0" y="4098770"/>
            <a:ext cx="3583515" cy="201167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14844" y="1676679"/>
            <a:ext cx="3583515" cy="21579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F3A29B0-716A-4C35-A013-3FAC88D7A80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314844" y="4096512"/>
            <a:ext cx="3583515" cy="201167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44F57E95-9B34-49D0-B2D5-56ED760D9CA1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05568" y="1682496"/>
            <a:ext cx="3583515" cy="21579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EF22231-FA42-42CF-AB2B-892F463A81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05568" y="4096512"/>
            <a:ext cx="3583515" cy="2011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366D76-6B79-48C4-8251-348E1555D51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01856AD-287E-4B42-827F-672E72E0C412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B02B7B-0702-48E3-8554-1CD7C994F25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C8D6D6-7FF6-449D-9219-4E96EBA4FD1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9F1CC7F-1769-4309-B028-FCCD6DB279B4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402C49C4-4B74-4AA3-BB68-2300CD8650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836469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D7697-AE57-43B3-A9C4-B97982A7969B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8BD2276-8977-4766-9164-0C1C18520B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991921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32BF87-93DB-41AC-97FE-D5B0EDE196CB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0A897C52-38E8-4C02-B11A-8278FD59AD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4112" y="1682495"/>
            <a:ext cx="5984713" cy="4425696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E6D374-812D-46BD-ACCF-706447B9BF2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481225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3AD6C-D0A4-4637-9498-78703FB83037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C20B5319-2B45-4252-BEAB-FDF0E14B7070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6204112" y="1682496"/>
            <a:ext cx="5984713" cy="44256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Insert Media he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8E423FB-65E5-44B7-A219-A6E67DC3F2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4720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5A1AF48-9BFD-46FF-86A7-B55749512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1" y="365760"/>
            <a:ext cx="11173672" cy="106070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0A9DCA-C8FA-4C09-B99A-DC34A0B429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1511F17-38C4-44DF-ADBB-003A309F28E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E9C752-D058-463B-9E84-F0D0FB1AA2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D1AAD6-6BF9-44BD-8B5E-441D9E17EC6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E2704D-D973-44F5-AFE3-5458B42961F6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9E830F-3EEF-43CF-8DA5-7C9FAB97A0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22730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6FEAAF-6EEB-4F52-AFCF-EAA3159D879B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A665A60-4126-4C36-935C-5B20305506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91904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Picture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3E752-6178-4BDC-A142-2B2569EDD04D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791A77E-A9F3-439D-B41C-153F4D9DA6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682496"/>
            <a:ext cx="5996902" cy="442569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3101BBA-D0AC-40A0-823F-9602CC0602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578409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Media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964B7-435C-4AA1-A62E-A1663B697282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7A841180-8D0B-4829-9826-A334842E6739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0" y="1682496"/>
            <a:ext cx="5996902" cy="4425696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Media he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0714AE5-4850-4466-8C9F-DD59FC000F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740550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vanc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C81C643-B400-4457-BA76-DC5CEB304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31449" cy="6858000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677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56" indent="-308956">
              <a:buNone/>
              <a:defRPr sz="5865">
                <a:solidFill>
                  <a:schemeClr val="tx1"/>
                </a:solidFill>
              </a:defRPr>
            </a:lvl2pPr>
            <a:lvl3pPr marL="304724" indent="-304724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6pPr>
            <a:lvl7pPr marL="0" indent="0">
              <a:buClrTx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313295" y="6400800"/>
            <a:ext cx="121888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6F2A938-361F-4F67-8BCD-4248013A871E}" type="datetime1">
              <a:rPr lang="en-US" smtClean="0"/>
              <a:t>7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986777" y="6400800"/>
            <a:ext cx="609441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white"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1986777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20ADF0C-4BBB-45C4-865D-6FA4EAC379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50790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56" indent="-308956">
              <a:buNone/>
              <a:defRPr sz="5865">
                <a:solidFill>
                  <a:schemeClr val="tx1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2216AA-C246-4BF8-9778-027A671AE05C}" type="datetime1">
              <a:rPr lang="en-US" smtClean="0"/>
              <a:t>7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518" y="6400800"/>
            <a:ext cx="609441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63F996-94D9-4E07-B4CD-3CF1568075B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67022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/ 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bg1"/>
                </a:solidFill>
              </a:defRPr>
            </a:lvl1pPr>
            <a:lvl2pPr marL="308956" indent="-308956">
              <a:buNone/>
              <a:defRPr sz="5865">
                <a:solidFill>
                  <a:schemeClr val="bg1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2951C51-9575-4E82-9944-2A080A1D1416}" type="datetime1">
              <a:rPr lang="en-US" smtClean="0"/>
              <a:t>7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518" y="6400800"/>
            <a:ext cx="6094413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0A6E3-DE2F-40B3-955E-42C3550BD2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11566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E48B4-F4ED-4DA0-AE35-136D1133A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65DC66A-BAB7-4355-9ED4-0CA743C61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E7440-A164-4BE7-A683-1DC89B30E100}" type="datetime1">
              <a:rPr lang="en-US" smtClean="0"/>
              <a:t>7/11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E53A72-E1D6-4692-98EC-6243614B7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049D8E0-67E3-4D7E-847C-95CFA1F84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E5CE040-C0D3-40BD-8063-A2DF101E8B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5419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5A1AF48-9BFD-46FF-86A7-B55749512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1" y="365760"/>
            <a:ext cx="11173672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0A9DCA-C8FA-4C09-B99A-DC34A0B429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8644D50-66B5-4F98-BB65-0462948F36D0}" type="datetime1">
              <a:rPr lang="en-US" smtClean="0"/>
              <a:t>7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E9C752-D058-463B-9E84-F0D0FB1AA2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D1AAD6-6BF9-44BD-8B5E-441D9E17EC6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E2704D-D973-44F5-AFE3-5458B42961F6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9E830F-3EEF-43CF-8DA5-7C9FAB97A0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971040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9723C8-B7B3-4950-BDEC-A8C820F2E9F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92C196-58BA-4F0F-83A6-F3DD888CADD0}" type="datetime1">
              <a:rPr lang="en-US" smtClean="0"/>
              <a:t>7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67F4B0-9013-4E9E-9C02-E80308C894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CF68D0-3D52-4AAE-BAD5-E685A44EC4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AC0B7B8-5D2E-4DC2-8ED6-129DC4E412E4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555C70-7666-4B1C-BD96-58FC37C94F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101130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" y="4267200"/>
            <a:ext cx="12188824" cy="18288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A6472576-AA86-442F-942A-4D33C4E2B31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1930" y="365760"/>
            <a:ext cx="11177153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071916-F690-4209-B46C-EC1B2FCDBE7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04306A5D-4C19-4CEA-B7B4-5CF5FBCE4B8F}" type="datetime1">
              <a:rPr lang="en-US" smtClean="0"/>
              <a:t>7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82348C-75B0-4FAD-B938-374E4C3CF7C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C8C4C5-03BD-4CB4-9145-5AD4CD061F5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0861592-E564-44B4-A852-0D4E56011C1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2063E46-1CE4-4B18-8360-8C206F79FA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8566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9723C8-B7B3-4950-BDEC-A8C820F2E9F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A55AAD7-B6DD-49B9-A161-72534B93215C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67F4B0-9013-4E9E-9C02-E80308C894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CF68D0-3D52-4AAE-BAD5-E685A44EC4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AC0B7B8-5D2E-4DC2-8ED6-129DC4E412E4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555C70-7666-4B1C-BD96-58FC37C94F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0905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D9B5BD-B7AB-4911-895E-9E202985C1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DB0EFEF-BBC8-473D-9AE1-F3955CF8ED7D}" type="datetime1">
              <a:rPr lang="en-US" smtClean="0"/>
              <a:t>7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C5353D-C3F0-4610-AC96-51E1C3E245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981F65-3889-43EC-925C-AE198E6C39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BA89284-C4DA-40FB-8673-D09F327E1187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E404F8E-3569-4CB7-9779-AC1B195FD6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47245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24000"/>
            <a:ext cx="12188825" cy="4572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media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701FDA-857B-4B97-A1E3-A1B888D9C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1" y="365760"/>
            <a:ext cx="11173672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6CC38F-9F2A-422F-979B-8828A725FA8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53C89F2-7833-484F-A65C-662F6D68DDD3}" type="datetime1">
              <a:rPr lang="en-US" smtClean="0"/>
              <a:t>7/1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87D2D-86BD-4F81-ABB2-617104A445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DFD90-6BB1-437F-9F87-F0EE11D6B0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6E7E8EB-BBE8-401F-8C15-7A754DD1C2CB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82F5B8BF-A1CE-42CC-ACF4-0A5192FDE5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10206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2"/>
            <a:ext cx="5484971" cy="573023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Media Placeholder 15">
            <a:extLst>
              <a:ext uri="{FF2B5EF4-FFF2-40B4-BE49-F238E27FC236}">
                <a16:creationId xmlns:a16="http://schemas.microsoft.com/office/drawing/2014/main" id="{CEB5CA12-0E7C-45C9-92C9-E64DA006575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5996902" cy="6096000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9F91859-85A6-4652-BB50-DE18F40DAE1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2891E91-9488-4616-A4E9-562C551F1C22}" type="datetime1">
              <a:rPr lang="en-US" smtClean="0"/>
              <a:t>7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99760E2-6197-4679-A293-2A1317EFAB4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F677D8-5DFC-45CA-854E-7E2FDF7D479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6A4D1D-419D-453A-9A35-9EF2960602A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AA30451-9D03-4FA5-AF5E-920706E8ED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629594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0"/>
            <a:ext cx="5484971" cy="57302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E3F330-9F76-4B2D-936C-BA16606110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5997071" cy="6096000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C1D49F-49AB-492E-AADA-3FDC394DFDF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3F262AA-DEDE-48CB-AC20-EF8642D85293}" type="datetime1">
              <a:rPr lang="en-US" smtClean="0"/>
              <a:t>7/1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87AAB2-79C4-4D8A-B367-D69C5CB9771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0EC04C-1500-45F6-8042-1CE988757A4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92DAA9B-CFA7-4AA1-B116-CD98263A729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3F9A740-E5A2-4D3A-836A-46E192FC21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69542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7968"/>
            <a:ext cx="12174665" cy="68500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6651" y="2438400"/>
            <a:ext cx="10360501" cy="438912"/>
          </a:xfrm>
        </p:spPr>
        <p:txBody>
          <a:bodyPr anchor="b" anchorCtr="0">
            <a:noAutofit/>
          </a:bodyPr>
          <a:lstStyle>
            <a:lvl1pPr>
              <a:defRPr sz="4266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6651" y="3255264"/>
            <a:ext cx="10360501" cy="841248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666">
                <a:solidFill>
                  <a:schemeClr val="tx1"/>
                </a:solidFill>
              </a:defRPr>
            </a:lvl1pPr>
            <a:lvl2pPr marL="0" indent="0">
              <a:buNone/>
              <a:defRPr sz="2666">
                <a:solidFill>
                  <a:schemeClr val="tx1"/>
                </a:solidFill>
              </a:defRPr>
            </a:lvl2pPr>
            <a:lvl3pPr marL="0" indent="0">
              <a:buNone/>
              <a:defRPr sz="2666">
                <a:solidFill>
                  <a:schemeClr val="tx1"/>
                </a:solidFill>
              </a:defRPr>
            </a:lvl3pPr>
            <a:lvl4pPr marL="0" indent="0">
              <a:buNone/>
              <a:defRPr sz="2666">
                <a:solidFill>
                  <a:schemeClr val="tx1"/>
                </a:solidFill>
              </a:defRPr>
            </a:lvl4pPr>
            <a:lvl5pPr marL="0" indent="0">
              <a:buNone/>
              <a:defRPr sz="2666">
                <a:solidFill>
                  <a:schemeClr val="tx1"/>
                </a:solidFill>
              </a:defRPr>
            </a:lvl5pPr>
            <a:lvl6pPr marL="0" indent="0">
              <a:buNone/>
              <a:defRPr sz="2666">
                <a:solidFill>
                  <a:schemeClr val="tx1"/>
                </a:solidFill>
              </a:defRPr>
            </a:lvl6pPr>
            <a:lvl7pPr marL="0" indent="0">
              <a:buNone/>
              <a:defRPr sz="2666">
                <a:solidFill>
                  <a:schemeClr val="tx1"/>
                </a:solidFill>
              </a:defRPr>
            </a:lvl7pPr>
            <a:lvl8pPr marL="0" indent="0">
              <a:buNone/>
              <a:defRPr sz="2666">
                <a:solidFill>
                  <a:schemeClr val="tx1"/>
                </a:solidFill>
              </a:defRPr>
            </a:lvl8pPr>
            <a:lvl9pPr marL="0" indent="0">
              <a:buNone/>
              <a:defRPr sz="2666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ame</a:t>
            </a:r>
            <a:br>
              <a:rPr lang="en-US"/>
            </a:br>
            <a:r>
              <a:rPr lang="en-US"/>
              <a:t>Email (optional)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782957" y="-1296364"/>
            <a:ext cx="184731" cy="379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66" err="1">
              <a:solidFill>
                <a:schemeClr val="tx2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 userDrawn="1"/>
        </p:nvCxnSpPr>
        <p:spPr>
          <a:xfrm>
            <a:off x="814638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8390744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663913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5982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850" y="173747"/>
            <a:ext cx="11815126" cy="1060704"/>
          </a:xfrm>
        </p:spPr>
        <p:txBody>
          <a:bodyPr>
            <a:normAutofit/>
          </a:bodyPr>
          <a:lstStyle>
            <a:lvl1pPr>
              <a:defRPr sz="2399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E669688A-77C5-4DC4-B327-717F94343A6B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t>7/11/2024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b="1">
                <a:solidFill>
                  <a:schemeClr val="accent6"/>
                </a:solidFill>
                <a:latin typeface="+mj-lt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35269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" y="4267200"/>
            <a:ext cx="12188824" cy="18288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A6472576-AA86-442F-942A-4D33C4E2B31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1930" y="365760"/>
            <a:ext cx="11177153" cy="365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071916-F690-4209-B46C-EC1B2FCDBE7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A58F86F5-BAB6-4CB3-90D0-9627181D6F26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82348C-75B0-4FAD-B938-374E4C3CF7C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C8C4C5-03BD-4CB4-9145-5AD4CD061F5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0861592-E564-44B4-A852-0D4E56011C1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2063E46-1CE4-4B18-8360-8C206F79FA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8028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D9B5BD-B7AB-4911-895E-9E202985C1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DFC9BF-4470-40CF-8D9B-EBFBF35E4146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C5353D-C3F0-4610-AC96-51E1C3E245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981F65-3889-43EC-925C-AE198E6C39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BA89284-C4DA-40FB-8673-D09F327E1187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E404F8E-3569-4CB7-9779-AC1B195FD6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4436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24000"/>
            <a:ext cx="12188825" cy="4572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701FDA-857B-4B97-A1E3-A1B888D9C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1" y="365760"/>
            <a:ext cx="11173672" cy="106070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6CC38F-9F2A-422F-979B-8828A725FA8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05C69B1-3034-40AE-A411-87CCD4038996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87D2D-86BD-4F81-ABB2-617104A445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DFD90-6BB1-437F-9F87-F0EE11D6B0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6E7E8EB-BBE8-401F-8C15-7A754DD1C2CB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82F5B8BF-A1CE-42CC-ACF4-0A5192FDE5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0078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6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429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2"/>
            <a:ext cx="5484971" cy="573023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Media Placeholder 15">
            <a:extLst>
              <a:ext uri="{FF2B5EF4-FFF2-40B4-BE49-F238E27FC236}">
                <a16:creationId xmlns:a16="http://schemas.microsoft.com/office/drawing/2014/main" id="{CEB5CA12-0E7C-45C9-92C9-E64DA006575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5996902" cy="6096000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9F91859-85A6-4652-BB50-DE18F40DAE1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5530F72-C993-4612-9AFC-11C1D7DDF4A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99760E2-6197-4679-A293-2A1317EFAB4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F677D8-5DFC-45CA-854E-7E2FDF7D479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6A4D1D-419D-453A-9A35-9EF2960602A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AA30451-9D03-4FA5-AF5E-920706E8ED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1960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0"/>
            <a:ext cx="5484971" cy="57302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E3F330-9F76-4B2D-936C-BA16606110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5997071" cy="6096000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C1D49F-49AB-492E-AADA-3FDC394DFDF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63315BF-63BF-4C4E-8260-3EBBE9ADF505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87AAB2-79C4-4D8A-B367-D69C5CB9771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0EC04C-1500-45F6-8042-1CE988757A4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92DAA9B-CFA7-4AA1-B116-CD98263A729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3F9A740-E5A2-4D3A-836A-46E192FC21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3216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7968"/>
            <a:ext cx="12174665" cy="68500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6651" y="2438400"/>
            <a:ext cx="10360501" cy="438912"/>
          </a:xfrm>
        </p:spPr>
        <p:txBody>
          <a:bodyPr anchor="b" anchorCtr="0">
            <a:noAutofit/>
          </a:bodyPr>
          <a:lstStyle>
            <a:lvl1pPr>
              <a:defRPr sz="426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6651" y="3255264"/>
            <a:ext cx="10360501" cy="841248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666">
                <a:solidFill>
                  <a:schemeClr val="tx1"/>
                </a:solidFill>
              </a:defRPr>
            </a:lvl1pPr>
            <a:lvl2pPr marL="0" indent="0">
              <a:buNone/>
              <a:defRPr sz="2666">
                <a:solidFill>
                  <a:schemeClr val="tx1"/>
                </a:solidFill>
              </a:defRPr>
            </a:lvl2pPr>
            <a:lvl3pPr marL="0" indent="0">
              <a:buNone/>
              <a:defRPr sz="2666">
                <a:solidFill>
                  <a:schemeClr val="tx1"/>
                </a:solidFill>
              </a:defRPr>
            </a:lvl3pPr>
            <a:lvl4pPr marL="0" indent="0">
              <a:buNone/>
              <a:defRPr sz="2666">
                <a:solidFill>
                  <a:schemeClr val="tx1"/>
                </a:solidFill>
              </a:defRPr>
            </a:lvl4pPr>
            <a:lvl5pPr marL="0" indent="0">
              <a:buNone/>
              <a:defRPr sz="2666">
                <a:solidFill>
                  <a:schemeClr val="tx1"/>
                </a:solidFill>
              </a:defRPr>
            </a:lvl5pPr>
            <a:lvl6pPr marL="0" indent="0">
              <a:buNone/>
              <a:defRPr sz="2666">
                <a:solidFill>
                  <a:schemeClr val="tx1"/>
                </a:solidFill>
              </a:defRPr>
            </a:lvl6pPr>
            <a:lvl7pPr marL="0" indent="0">
              <a:buNone/>
              <a:defRPr sz="2666">
                <a:solidFill>
                  <a:schemeClr val="tx1"/>
                </a:solidFill>
              </a:defRPr>
            </a:lvl7pPr>
            <a:lvl8pPr marL="0" indent="0">
              <a:buNone/>
              <a:defRPr sz="2666">
                <a:solidFill>
                  <a:schemeClr val="tx1"/>
                </a:solidFill>
              </a:defRPr>
            </a:lvl8pPr>
            <a:lvl9pPr marL="0" indent="0">
              <a:buNone/>
              <a:defRPr sz="2666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Email (optional)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782957" y="-1296364"/>
            <a:ext cx="184731" cy="379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66" dirty="0" err="1">
              <a:solidFill>
                <a:schemeClr val="tx2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 userDrawn="1"/>
        </p:nvCxnSpPr>
        <p:spPr>
          <a:xfrm>
            <a:off x="814638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8390744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4654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12360B2-C043-C243-A8ED-35576E03D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" y="0"/>
            <a:ext cx="1218882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594875"/>
            <a:ext cx="10593523" cy="820546"/>
          </a:xfrm>
        </p:spPr>
        <p:txBody>
          <a:bodyPr wrap="square" anchor="b">
            <a:spAutoFit/>
          </a:bodyPr>
          <a:lstStyle>
            <a:lvl1pPr algn="l">
              <a:defRPr sz="5332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3815871"/>
            <a:ext cx="6703854" cy="1005404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732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F9D6A9C-5685-DB4A-940D-0A166FC53689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2" y="3626571"/>
            <a:ext cx="905898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80008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1"/>
            <a:ext cx="11177153" cy="41036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66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193800"/>
            <a:ext cx="11177153" cy="442569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8989968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1930" y="6400800"/>
            <a:ext cx="304721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CDE3006-3C2F-F84C-A081-B5A7EB14C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D4DC6B4-A7B2-1948-B033-FC7F81ECAC94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04551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B9EC9720-0962-014C-ACB4-2469F1EAF9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8B0FE3D-9675-5C43-9A68-E0E027F9C1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75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B9EC9720-0962-014C-ACB4-2469F1EAF9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7783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BDEE31-86AB-1348-AEB5-ECBCE43533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07868" y="2312698"/>
            <a:ext cx="10593523" cy="820546"/>
          </a:xfrm>
        </p:spPr>
        <p:txBody>
          <a:bodyPr wrap="square" anchor="b">
            <a:spAutoFit/>
          </a:bodyPr>
          <a:lstStyle>
            <a:lvl1pPr algn="l">
              <a:defRPr sz="5332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ivider Title Goes 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DA83589-701D-0642-8F29-579DE771E61C}"/>
              </a:ext>
            </a:extLst>
          </p:cNvPr>
          <p:cNvCxnSpPr>
            <a:cxnSpLocks/>
          </p:cNvCxnSpPr>
          <p:nvPr userDrawn="1"/>
        </p:nvCxnSpPr>
        <p:spPr bwMode="white">
          <a:xfrm flipH="1">
            <a:off x="507869" y="2156913"/>
            <a:ext cx="10279502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48542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12360B2-C043-C243-A8ED-35576E03D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" y="0"/>
            <a:ext cx="12188826" cy="6858000"/>
          </a:xfrm>
          <a:prstGeom prst="rect">
            <a:avLst/>
          </a:prstGeom>
        </p:spPr>
      </p:pic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5818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&amp; Numbered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9DB8076-7A15-294B-9F29-3AD917EBD4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E686D16-B817-4FD7-91EF-E75DCEECBD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03805" y="1809224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58" indent="-377858">
              <a:spcBef>
                <a:spcPts val="0"/>
              </a:spcBef>
              <a:buFont typeface="+mj-lt"/>
              <a:buAutoNum type="arabicPeriod"/>
              <a:defRPr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lang="en-US" sz="1866" baseline="0" noProof="0" dirty="0">
                <a:solidFill>
                  <a:schemeClr val="tx2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A6EE624-9DEC-AB48-B64E-E6E983872DC4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552304" y="1471788"/>
            <a:ext cx="848758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5C99D996-401C-B345-91D7-5E3D59498BBA}"/>
              </a:ext>
            </a:extLst>
          </p:cNvPr>
          <p:cNvSpPr/>
          <p:nvPr userDrawn="1"/>
        </p:nvSpPr>
        <p:spPr>
          <a:xfrm>
            <a:off x="503805" y="432689"/>
            <a:ext cx="2693366" cy="91287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5332" b="1" dirty="0">
                <a:solidFill>
                  <a:schemeClr val="tx2"/>
                </a:solidFill>
              </a:rPr>
              <a:t>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874515-8BC9-E742-8E82-6CA0A2655E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3121" y="6379653"/>
            <a:ext cx="1718578" cy="365751"/>
          </a:xfrm>
          <a:prstGeom prst="rect">
            <a:avLst/>
          </a:prstGeom>
        </p:spPr>
      </p:pic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9B55D8F4-7C00-A945-B181-3419E2C8C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11" name="Slide Number Placeholder 9">
            <a:extLst>
              <a:ext uri="{FF2B5EF4-FFF2-40B4-BE49-F238E27FC236}">
                <a16:creationId xmlns:a16="http://schemas.microsoft.com/office/drawing/2014/main" id="{C8A2C78D-0E99-3D46-85C8-7F3DBA884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1930" y="6400800"/>
            <a:ext cx="304721" cy="207264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1504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icture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2BD88AD-BF9F-4A95-ACE0-0665F32F8DF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6774" y="1682496"/>
            <a:ext cx="685418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58" indent="-37785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marL="609448" lvl="1" indent="-609448">
              <a:buNone/>
            </a:pPr>
            <a:endParaRPr kumimoji="0" lang="en-US" sz="3732" b="0" i="0" u="none" strike="noStrike" kern="1200" cap="none" spc="0" normalizeH="0" baseline="0" noProof="0" dirty="0">
              <a:ln>
                <a:noFill/>
              </a:ln>
              <a:solidFill>
                <a:srgbClr val="0033B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A5CEAD-8DF7-4847-A3C5-A3EBD2E6DC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07868" y="1682495"/>
            <a:ext cx="3675693" cy="4425696"/>
          </a:xfrm>
          <a:noFill/>
        </p:spPr>
        <p:txBody>
          <a:bodyPr/>
          <a:lstStyle>
            <a:lvl1pPr marL="0" marR="0" indent="0" algn="l" defTabSz="609448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609448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CB4A54-5341-4A6F-9733-3D09E3B0E7F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6FE1-BD49-4DF7-BB00-A94B86041749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9F96F16-06EB-41EA-A547-8A5407FBCF4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CDF8484-6FCC-46A8-B1A4-B877ED71BD2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F8FABAD-01EF-483E-B2EF-403B57169C4D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42CD7C5-2D34-4C27-8DA0-D81A9530F1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3074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2569E44-C137-3C42-84C2-936B7B239A15}"/>
              </a:ext>
            </a:extLst>
          </p:cNvPr>
          <p:cNvSpPr/>
          <p:nvPr userDrawn="1"/>
        </p:nvSpPr>
        <p:spPr>
          <a:xfrm rot="10800000">
            <a:off x="-5587" y="-8104"/>
            <a:ext cx="12194412" cy="6866104"/>
          </a:xfrm>
          <a:prstGeom prst="rect">
            <a:avLst/>
          </a:prstGeom>
          <a:gradFill>
            <a:gsLst>
              <a:gs pos="76000">
                <a:schemeClr val="accent1"/>
              </a:gs>
              <a:gs pos="0">
                <a:schemeClr val="accent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744" dirty="0"/>
          </a:p>
        </p:txBody>
      </p:sp>
      <p:sp>
        <p:nvSpPr>
          <p:cNvPr id="5" name="Date Placeholder 5">
            <a:extLst>
              <a:ext uri="{FF2B5EF4-FFF2-40B4-BE49-F238E27FC236}">
                <a16:creationId xmlns:a16="http://schemas.microsoft.com/office/drawing/2014/main" id="{1F70E9D6-43EC-0241-BC44-FD47F28691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13295" y="6400800"/>
            <a:ext cx="1218883" cy="207264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Footer Placeholder 6">
            <a:extLst>
              <a:ext uri="{FF2B5EF4-FFF2-40B4-BE49-F238E27FC236}">
                <a16:creationId xmlns:a16="http://schemas.microsoft.com/office/drawing/2014/main" id="{01D600B3-A7F4-0941-870B-67C380967D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163D4327-3D35-AD4E-808A-738B44FCDC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1930" y="6400800"/>
            <a:ext cx="304721" cy="207264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8263324-F4C4-E749-86B9-D270983C126B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995CFD4-96B5-8C42-A808-6C280E38F5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3121" y="6379653"/>
            <a:ext cx="1718578" cy="36575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45249E6-CF45-F94B-9622-B5CA9AEEE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1"/>
            <a:ext cx="11177153" cy="41036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666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021422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2569E44-C137-3C42-84C2-936B7B239A15}"/>
              </a:ext>
            </a:extLst>
          </p:cNvPr>
          <p:cNvSpPr/>
          <p:nvPr userDrawn="1"/>
        </p:nvSpPr>
        <p:spPr>
          <a:xfrm rot="10800000">
            <a:off x="-5587" y="-8104"/>
            <a:ext cx="12194412" cy="6866104"/>
          </a:xfrm>
          <a:prstGeom prst="rect">
            <a:avLst/>
          </a:prstGeom>
          <a:gradFill>
            <a:gsLst>
              <a:gs pos="76000">
                <a:schemeClr val="accent1"/>
              </a:gs>
              <a:gs pos="0">
                <a:schemeClr val="accent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744" dirty="0"/>
          </a:p>
        </p:txBody>
      </p:sp>
    </p:spTree>
    <p:extLst>
      <p:ext uri="{BB962C8B-B14F-4D97-AF65-F5344CB8AC3E}">
        <p14:creationId xmlns:p14="http://schemas.microsoft.com/office/powerpoint/2010/main" val="134573457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F7CD3DD1-76E1-5C4F-88A3-41E8ABFC0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88825" cy="6858000"/>
          </a:xfrm>
          <a:prstGeom prst="rect">
            <a:avLst/>
          </a:prstGeom>
        </p:spPr>
      </p:pic>
      <p:sp>
        <p:nvSpPr>
          <p:cNvPr id="6" name="Date Placeholder 7">
            <a:extLst>
              <a:ext uri="{FF2B5EF4-FFF2-40B4-BE49-F238E27FC236}">
                <a16:creationId xmlns:a16="http://schemas.microsoft.com/office/drawing/2014/main" id="{2F2C37E3-AF9A-1F47-A086-AAD77EDAA5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0DF05A81-9F01-8040-A9B2-46004B5E90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7452993E-D947-0342-AF06-85D233EF3B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00C6266-0016-AF4E-9B0A-0A5201FDE6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5AE9F84-71AE-024B-BE95-03E0C1A82BC0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24676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C176590-7EB0-0641-9AEF-A5D2C4CD0B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88826" cy="6858000"/>
          </a:xfrm>
          <a:prstGeom prst="rect">
            <a:avLst/>
          </a:prstGeom>
        </p:spPr>
      </p:pic>
      <p:sp>
        <p:nvSpPr>
          <p:cNvPr id="6" name="Date Placeholder 7">
            <a:extLst>
              <a:ext uri="{FF2B5EF4-FFF2-40B4-BE49-F238E27FC236}">
                <a16:creationId xmlns:a16="http://schemas.microsoft.com/office/drawing/2014/main" id="{2F2C37E3-AF9A-1F47-A086-AAD77EDAA5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0DF05A81-9F01-8040-A9B2-46004B5E90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7452993E-D947-0342-AF06-85D233EF3B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00C6266-0016-AF4E-9B0A-0A5201FDE6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5AE9F84-71AE-024B-BE95-03E0C1A82BC0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77649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7">
            <a:extLst>
              <a:ext uri="{FF2B5EF4-FFF2-40B4-BE49-F238E27FC236}">
                <a16:creationId xmlns:a16="http://schemas.microsoft.com/office/drawing/2014/main" id="{2F2C37E3-AF9A-1F47-A086-AAD77EDAA5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0DF05A81-9F01-8040-A9B2-46004B5E90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7452993E-D947-0342-AF06-85D233EF3B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00C6266-0016-AF4E-9B0A-0A5201FDE6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5AE9F84-71AE-024B-BE95-03E0C1A82BC0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97682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8AAE8289-DD47-D144-81DF-156E3AE273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AF5C070-7E03-2942-B54C-3B82309EAB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3121" y="6379653"/>
            <a:ext cx="1718578" cy="365751"/>
          </a:xfrm>
          <a:prstGeom prst="rect">
            <a:avLst/>
          </a:prstGeom>
          <a:effectLst>
            <a:outerShdw blurRad="12700" dist="38100" dir="5400000" sx="90000" sy="90000" algn="t" rotWithShape="0">
              <a:prstClr val="black">
                <a:alpha val="4000"/>
              </a:prstClr>
            </a:outerShdw>
          </a:effec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36FE5A3-D65C-3043-AC3E-4E7F904CC3C8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552304" y="1959468"/>
            <a:ext cx="8487584" cy="0"/>
          </a:xfrm>
          <a:prstGeom prst="line">
            <a:avLst/>
          </a:prstGeom>
          <a:ln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35CDD119-9902-E141-8533-B71559B5860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07868" y="2187702"/>
            <a:ext cx="10593523" cy="820546"/>
          </a:xfrm>
        </p:spPr>
        <p:txBody>
          <a:bodyPr wrap="square" anchor="b">
            <a:spAutoFit/>
          </a:bodyPr>
          <a:lstStyle>
            <a:lvl1pPr algn="l">
              <a:defRPr sz="5332" b="1" i="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Title Goes Here</a:t>
            </a:r>
          </a:p>
        </p:txBody>
      </p:sp>
      <p:sp>
        <p:nvSpPr>
          <p:cNvPr id="11" name="Date Placeholder 7">
            <a:extLst>
              <a:ext uri="{FF2B5EF4-FFF2-40B4-BE49-F238E27FC236}">
                <a16:creationId xmlns:a16="http://schemas.microsoft.com/office/drawing/2014/main" id="{FFA550FE-0F59-184C-8F71-2160F61984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Footer Placeholder 8">
            <a:extLst>
              <a:ext uri="{FF2B5EF4-FFF2-40B4-BE49-F238E27FC236}">
                <a16:creationId xmlns:a16="http://schemas.microsoft.com/office/drawing/2014/main" id="{AD57ECE9-5D31-3447-A27C-E28410CFA3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13" name="Slide Number Placeholder 9">
            <a:extLst>
              <a:ext uri="{FF2B5EF4-FFF2-40B4-BE49-F238E27FC236}">
                <a16:creationId xmlns:a16="http://schemas.microsoft.com/office/drawing/2014/main" id="{94A92B65-9073-714C-8832-DB92757BEC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46832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Header &amp; 1-Column">
    <p:bg>
      <p:bgPr>
        <a:solidFill>
          <a:schemeClr val="tx2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E18E0336-BC1E-A142-A764-8EB3BEF13E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9382167" cy="207264"/>
          </a:xfrm>
        </p:spPr>
        <p:txBody>
          <a:bodyPr/>
          <a:lstStyle>
            <a:lvl1pPr algn="l">
              <a:defRPr sz="1066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4" name="Slide Number Placeholder 9">
            <a:extLst>
              <a:ext uri="{FF2B5EF4-FFF2-40B4-BE49-F238E27FC236}">
                <a16:creationId xmlns:a16="http://schemas.microsoft.com/office/drawing/2014/main" id="{795AB87B-A889-274F-9DA6-12B24B7918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193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0725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Layou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1"/>
            <a:ext cx="11177153" cy="410241"/>
          </a:xfrm>
        </p:spPr>
        <p:txBody>
          <a:bodyPr>
            <a:spAutoFit/>
          </a:bodyPr>
          <a:lstStyle>
            <a:lvl1pPr>
              <a:defRPr sz="266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337345"/>
            <a:ext cx="11177153" cy="4425696"/>
          </a:xfrm>
        </p:spPr>
        <p:txBody>
          <a:bodyPr>
            <a:normAutofit/>
          </a:bodyPr>
          <a:lstStyle>
            <a:lvl1pPr>
              <a:defRPr sz="1866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66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CDE3006-3C2F-F84C-A081-B5A7EB14C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D4DC6B4-A7B2-1948-B033-FC7F81ECAC94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7B1799-5671-4E4A-9EA3-C2ABDFB123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5753" y="825290"/>
            <a:ext cx="11177322" cy="357515"/>
          </a:xfrm>
        </p:spPr>
        <p:txBody>
          <a:bodyPr>
            <a:normAutofit/>
          </a:bodyPr>
          <a:lstStyle>
            <a:lvl1pPr>
              <a:defRPr sz="2133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669490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1"/>
            <a:ext cx="11177153" cy="410241"/>
          </a:xfrm>
        </p:spPr>
        <p:txBody>
          <a:bodyPr>
            <a:spAutoFit/>
          </a:bodyPr>
          <a:lstStyle>
            <a:lvl1pPr>
              <a:defRPr sz="266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1" y="1337345"/>
            <a:ext cx="5372987" cy="442569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CDE3006-3C2F-F84C-A081-B5A7EB14C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D4DC6B4-A7B2-1948-B033-FC7F81ECAC94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BF4A7D5-A9A4-D742-B109-C7B2BBE3A34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9405" y="1337345"/>
            <a:ext cx="5372987" cy="442569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071417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13A4B907-1218-4E4A-82F1-642F8017D3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1"/>
            <a:ext cx="11177153" cy="410241"/>
          </a:xfrm>
        </p:spPr>
        <p:txBody>
          <a:bodyPr>
            <a:spAutoFit/>
          </a:bodyPr>
          <a:lstStyle>
            <a:lvl1pPr>
              <a:defRPr sz="2666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337345"/>
            <a:ext cx="11177153" cy="4425696"/>
          </a:xfrm>
        </p:spPr>
        <p:txBody>
          <a:bodyPr/>
          <a:lstStyle>
            <a:lvl1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E50ABCD-AE6B-3944-94D4-650FD3CEFB66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3BDFF969-16B1-4043-AB0B-642C2E9380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3121" y="6379653"/>
            <a:ext cx="1718578" cy="365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1227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E686D16-B817-4FD7-91EF-E75DCEECBD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03805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58" indent="-37785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0FADBE-3030-4F6C-88B1-C1A6FD63B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B3731C5-DFAC-4D4E-959F-93B93103246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282AB7-CA5B-4BB2-9297-72F42A2F2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F0976E-13F2-445E-A5C4-28915A054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211AD09-EFF5-4259-BC1F-AFBAA6EE5437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5BD48D0-E8C8-4058-B322-A6DC8E33D7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9871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E43B87D-A0F4-A145-BCBE-88325C169FEF}"/>
              </a:ext>
            </a:extLst>
          </p:cNvPr>
          <p:cNvSpPr/>
          <p:nvPr userDrawn="1"/>
        </p:nvSpPr>
        <p:spPr>
          <a:xfrm>
            <a:off x="0" y="5410200"/>
            <a:ext cx="12188825" cy="144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6" dirty="0"/>
          </a:p>
        </p:txBody>
      </p:sp>
    </p:spTree>
    <p:extLst>
      <p:ext uri="{BB962C8B-B14F-4D97-AF65-F5344CB8AC3E}">
        <p14:creationId xmlns:p14="http://schemas.microsoft.com/office/powerpoint/2010/main" val="40184652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5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5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FA910F-3277-4B3E-A9EE-D900AE3E1F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12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66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506435" y="234866"/>
            <a:ext cx="11175956" cy="41036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5227" y="51835"/>
            <a:ext cx="123124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751"/>
            <a:endParaRPr lang="x-none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8694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505835" y="6254495"/>
            <a:ext cx="11176475" cy="0"/>
          </a:xfrm>
          <a:custGeom>
            <a:avLst/>
            <a:gdLst/>
            <a:ahLst/>
            <a:cxnLst/>
            <a:rect l="l" t="t" r="r" b="b"/>
            <a:pathLst>
              <a:path w="8384540">
                <a:moveTo>
                  <a:pt x="0" y="0"/>
                </a:moveTo>
                <a:lnTo>
                  <a:pt x="8384158" y="0"/>
                </a:lnTo>
              </a:path>
            </a:pathLst>
          </a:custGeom>
          <a:ln w="9144">
            <a:solidFill>
              <a:srgbClr val="00B040"/>
            </a:solidFill>
          </a:ln>
        </p:spPr>
        <p:txBody>
          <a:bodyPr wrap="square" lIns="0" tIns="0" rIns="0" bIns="0" rtlCol="0"/>
          <a:lstStyle/>
          <a:p>
            <a:endParaRPr sz="1866" dirty="0"/>
          </a:p>
        </p:txBody>
      </p:sp>
      <p:sp>
        <p:nvSpPr>
          <p:cNvPr id="17" name="bk object 17"/>
          <p:cNvSpPr/>
          <p:nvPr/>
        </p:nvSpPr>
        <p:spPr>
          <a:xfrm>
            <a:off x="9978585" y="6374381"/>
            <a:ext cx="1704404" cy="36576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66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66" b="0" i="0">
                <a:solidFill>
                  <a:srgbClr val="00339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441" y="1577340"/>
            <a:ext cx="5302139" cy="3692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20534" y="2381165"/>
            <a:ext cx="5280130" cy="2871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66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|    © 2020 Cognizant - Confidential or Trade Secret</a:t>
            </a:r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00339F"/>
                </a:solidFill>
                <a:latin typeface="Arial"/>
                <a:cs typeface="Arial"/>
              </a:defRPr>
            </a:lvl1pPr>
          </a:lstStyle>
          <a:p>
            <a:pPr marL="33858">
              <a:spcBef>
                <a:spcPts val="33"/>
              </a:spcBef>
              <a:tabLst>
                <a:tab pos="380058" algn="l"/>
              </a:tabLst>
            </a:pPr>
            <a:fld id="{81D60167-4931-47E6-BA6A-407CBD079E47}" type="slidenum">
              <a:rPr lang="en-US" sz="1066" smtClean="0">
                <a:solidFill>
                  <a:srgbClr val="808080"/>
                </a:solidFill>
              </a:rPr>
              <a:pPr marL="33858">
                <a:spcBef>
                  <a:spcPts val="33"/>
                </a:spcBef>
                <a:tabLst>
                  <a:tab pos="380058" algn="l"/>
                </a:tabLst>
              </a:pPr>
              <a:t>‹#›</a:t>
            </a:fld>
            <a:r>
              <a:rPr lang="en-US" sz="1066">
                <a:solidFill>
                  <a:srgbClr val="808080"/>
                </a:solidFill>
              </a:rPr>
              <a:t>	</a:t>
            </a:r>
            <a:r>
              <a:rPr lang="en-US"/>
              <a:t>© 2019</a:t>
            </a:r>
            <a:r>
              <a:rPr lang="en-US" spc="-87"/>
              <a:t> </a:t>
            </a:r>
            <a:r>
              <a:rPr lang="en-US" spc="-7"/>
              <a:t>Cognizant</a:t>
            </a:r>
            <a:endParaRPr lang="en-US" sz="1066" dirty="0"/>
          </a:p>
        </p:txBody>
      </p:sp>
    </p:spTree>
    <p:extLst>
      <p:ext uri="{BB962C8B-B14F-4D97-AF65-F5344CB8AC3E}">
        <p14:creationId xmlns:p14="http://schemas.microsoft.com/office/powerpoint/2010/main" val="66773245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6425629"/>
            <a:ext cx="12188825" cy="43407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91317">
              <a:defRPr/>
            </a:pPr>
            <a:endParaRPr lang="en-US" sz="1754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04721" y="0"/>
            <a:ext cx="11884104" cy="1143000"/>
          </a:xfrm>
          <a:prstGeom prst="rect">
            <a:avLst/>
          </a:prstGeom>
        </p:spPr>
        <p:txBody>
          <a:bodyPr/>
          <a:lstStyle>
            <a:lvl1pPr>
              <a:lnSpc>
                <a:spcPts val="2925"/>
              </a:lnSpc>
              <a:defRPr sz="2339" b="1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222729" y="6494055"/>
            <a:ext cx="586986" cy="297216"/>
          </a:xfrm>
          <a:prstGeom prst="rect">
            <a:avLst/>
          </a:prstGeom>
        </p:spPr>
        <p:txBody>
          <a:bodyPr vert="horz" lIns="89131" tIns="44566" rIns="89131" bIns="44566" rtlCol="0" anchor="b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32AB80A-78BA-6B42-BA0D-B44ACF890F5A}" type="slidenum">
              <a:rPr lang="en-US" sz="1024" b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</a:rPr>
              <a:pPr/>
              <a:t>‹#›</a:t>
            </a:fld>
            <a:endParaRPr lang="en-US" sz="1024" b="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6" t="3780" r="4361" b="5493"/>
          <a:stretch/>
        </p:blipFill>
        <p:spPr>
          <a:xfrm>
            <a:off x="10207195" y="6490713"/>
            <a:ext cx="576006" cy="303907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1014934" y="6527249"/>
            <a:ext cx="2563523" cy="227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1317">
              <a:defRPr/>
            </a:pPr>
            <a:r>
              <a:rPr lang="en-US" sz="878" b="0" kern="0" dirty="0">
                <a:solidFill>
                  <a:schemeClr val="tx1">
                    <a:lumMod val="50000"/>
                    <a:lumOff val="50000"/>
                  </a:schemeClr>
                </a:solidFill>
                <a:cs typeface="Arial"/>
              </a:rPr>
              <a:t>© 2018 Cognizant 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10868370" y="6490263"/>
            <a:ext cx="0" cy="30480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cognizant -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0984020" y="6493975"/>
            <a:ext cx="984522" cy="297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894906"/>
      </p:ext>
    </p:extLst>
  </p:cSld>
  <p:clrMapOvr>
    <a:masterClrMapping/>
  </p:clrMapOvr>
  <p:transition spd="med">
    <p:wip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5F1FCDD-9A69-4405-B89F-CFDAF1874A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0160"/>
            <a:ext cx="12188825" cy="68681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6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rgbClr val="000210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8 Cognizant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91822" y="6276782"/>
            <a:ext cx="25635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/>
              </a:rPr>
              <a:t>© 2019 Cognizant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5F1FCDD-9A69-4405-B89F-CFDAF1874A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88825" cy="686816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11115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682496"/>
            <a:ext cx="11177153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58313F-8A13-4A41-A8D7-31FB2FB074CF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44407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7C4CB0-E1A6-4DBC-8C27-B432BF957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947146-9954-4458-9279-AA08A3B071CD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69701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7A35C2-C0F4-49D9-B722-67323A6F7FD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9509183-A3A4-4971-BEBF-1DCDFEAEA734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6EBED9-9EFE-447A-BEE0-FCC12D286A78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B87AFB02-A938-4E08-B29B-ED6F9D4431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C6EBED9-9EFE-447A-BEE0-FCC12D286A78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B87AFB02-A938-4E08-B29B-ED6F9D4431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C6EBED9-9EFE-447A-BEE0-FCC12D286A7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B87AFB02-A938-4E08-B29B-ED6F9D4431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73726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&amp; 2-column (1/3,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7380334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31406E-2CA1-499E-A808-27B124490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6C5538-3BC1-4274-BECE-326EC075782F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149C702-A52C-4836-AD09-FFA898A62A90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FD43C0D-A77C-4195-A4E0-023F5CDE94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149C702-A52C-4836-AD09-FFA898A62A90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FD43C0D-A77C-4195-A4E0-023F5CDE94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49C702-A52C-4836-AD09-FFA898A62A9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2FD43C0D-A77C-4195-A4E0-023F5CDE94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85080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&amp; 2-column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7380334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C60974-838A-40CC-8A5B-B6116CA4D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1B6AA-52B4-494A-A3CC-9F631DBC049D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C70E20-6501-4F77-9CBC-3806310ED989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DDA0DA6-E3B0-4903-A9B6-BBC566D4D7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2C70E20-6501-4F77-9CBC-3806310ED989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3DDA0DA6-E3B0-4903-A9B6-BBC566D4D7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2C70E20-6501-4F77-9CBC-3806310ED989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3DDA0DA6-E3B0-4903-A9B6-BBC566D4D7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4117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682496"/>
            <a:ext cx="11177153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B5921-13FC-4322-87C4-4DB758BA0A47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17427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Subtitle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69CF19-0589-4E7F-87F9-FC7CAC6AC6D8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20445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2A1A39-C278-49C1-98BD-03DFB86ACBB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A4F26AE-5454-4F9D-AAE5-D3D002DD7C9F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DCFE254-800B-4596-8FBC-3984CE5AE788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304A10A-1409-4F5A-9F54-EB802809A8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DCFE254-800B-4596-8FBC-3984CE5AE788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E304A10A-1409-4F5A-9F54-EB802809A8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DCFE254-800B-4596-8FBC-3984CE5AE78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E304A10A-1409-4F5A-9F54-EB802809A8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24486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Subtitle,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B5CE85F-2A75-4693-93B8-CBF7927F72B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04109" y="2987040"/>
            <a:ext cx="5484971" cy="3121152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33434-287A-47FC-8826-927D06662D6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98D386E0-6517-4865-845C-C9D03EFE0238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D11681F-8020-4D84-9273-264D5F39BDAF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B1E49D76-A2A1-4E8C-8CF5-299D8A1F2A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D11681F-8020-4D84-9273-264D5F39BDAF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B1E49D76-A2A1-4E8C-8CF5-299D8A1F2A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D11681F-8020-4D84-9273-264D5F39BDA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B1E49D76-A2A1-4E8C-8CF5-299D8A1F2A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33400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Subtitle,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09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1325C43-3F77-4CF9-8E6F-F5DB1CDCD7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11929" y="2987040"/>
            <a:ext cx="5484971" cy="3121152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33C2E1-148D-4C6B-A6B6-6408779530FF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BCD788F-B9E9-4F14-B100-50586E972F9F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C731D1-00A8-4565-A437-8595C7E6650E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7ECD6034-AE10-44AD-8FB1-7887B1710C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DC731D1-00A8-4565-A437-8595C7E6650E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ECD6034-AE10-44AD-8FB1-7887B1710C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731D1-00A8-4565-A437-8595C7E6650E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7ECD6034-AE10-44AD-8FB1-7887B1710CE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779521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&amp; 6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76679"/>
            <a:ext cx="3583515" cy="21579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0" y="4098770"/>
            <a:ext cx="3583515" cy="201167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14844" y="1676679"/>
            <a:ext cx="3583515" cy="21579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F3A29B0-716A-4C35-A013-3FAC88D7A80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314844" y="4096512"/>
            <a:ext cx="3583515" cy="201167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44F57E95-9B34-49D0-B2D5-56ED760D9CA1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05568" y="1682496"/>
            <a:ext cx="3583515" cy="21579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EF22231-FA42-42CF-AB2B-892F463A81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05568" y="4096512"/>
            <a:ext cx="3583515" cy="2011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366D76-6B79-48C4-8251-348E1555D51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01856AD-287E-4B42-827F-672E72E0C412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9F1CC7F-1769-4309-B028-FCCD6DB279B4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402C49C4-4B74-4AA3-BB68-2300CD8650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9F1CC7F-1769-4309-B028-FCCD6DB279B4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402C49C4-4B74-4AA3-BB68-2300CD8650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9F1CC7F-1769-4309-B028-FCCD6DB279B4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402C49C4-4B74-4AA3-BB68-2300CD8650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06090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&amp; 2-Column (Numbered text on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D7697-AE57-43B3-A9C4-B97982A7969B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8BD2276-8977-4766-9164-0C1C18520B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D8BD2276-8977-4766-9164-0C1C18520B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8BD2276-8977-4766-9164-0C1C18520B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1782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Numbered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32BF87-93DB-41AC-97FE-D5B0EDE196CB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0A897C52-38E8-4C02-B11A-8278FD59AD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4112" y="1682495"/>
            <a:ext cx="5984713" cy="4425696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E6D374-812D-46BD-ACCF-706447B9BF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BE6D374-812D-46BD-ACCF-706447B9BF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7BE6D374-812D-46BD-ACCF-706447B9BF2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37520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Numbered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3AD6C-D0A4-4637-9498-78703FB83037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C20B5319-2B45-4252-BEAB-FDF0E14B7070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6204112" y="1682496"/>
            <a:ext cx="5984713" cy="44256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Insert Media he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8E423FB-65E5-44B7-A219-A6E67DC3F2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8E423FB-65E5-44B7-A219-A6E67DC3F2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E8E423FB-65E5-44B7-A219-A6E67DC3F2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70123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&amp; 2-Column (Numbered text on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6FEAAF-6EEB-4F52-AFCF-EAA3159D879B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A665A60-4126-4C36-935C-5B20305506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EA665A60-4126-4C36-935C-5B20305506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EA665A60-4126-4C36-935C-5B20305506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43236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Header, Picture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3E752-6178-4BDC-A142-2B2569EDD04D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791A77E-A9F3-439D-B41C-153F4D9DA6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682496"/>
            <a:ext cx="5996902" cy="442569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3101BBA-D0AC-40A0-823F-9602CC0602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3101BBA-D0AC-40A0-823F-9602CC0602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93101BBA-D0AC-40A0-823F-9602CC0602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37784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Header, Media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964B7-435C-4AA1-A62E-A1663B697282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7A841180-8D0B-4829-9826-A334842E6739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0" y="1682496"/>
            <a:ext cx="5996902" cy="4425696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0714AE5-4850-4466-8C9F-DD59FC000F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0714AE5-4850-4466-8C9F-DD59FC000F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A0714AE5-4850-4466-8C9F-DD59FC000F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0273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1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7C4CB0-E1A6-4DBC-8C27-B432BF957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93FAD-A110-4D0D-BF6C-EE167223619A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9FAE45-F8BC-40F3-9164-D36C18C3F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3BC111-2740-46AF-A4EE-25875C41C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19911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dvanc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C81C643-B400-4457-BA76-DC5CEB304A5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31449" cy="6858000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677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56" indent="-308956">
              <a:buNone/>
              <a:defRPr sz="5865">
                <a:solidFill>
                  <a:schemeClr val="tx1"/>
                </a:solidFill>
              </a:defRPr>
            </a:lvl2pPr>
            <a:lvl3pPr marL="304724" indent="-304724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6pPr>
            <a:lvl7pPr marL="0" indent="0">
              <a:buClrTx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313295" y="6400800"/>
            <a:ext cx="121888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6F2A938-361F-4F67-8BCD-4248013A871E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/>
        </p:nvCxnSpPr>
        <p:spPr>
          <a:xfrm>
            <a:off x="1986777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20ADF0C-4BBB-45C4-865D-6FA4EAC379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867594" y="6364933"/>
            <a:ext cx="23963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+mn-lt"/>
                <a:cs typeface="Arial"/>
              </a:rPr>
              <a:t>© 2019 Cognizant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81C643-B400-4457-BA76-DC5CEB304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3144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20ADF0C-4BBB-45C4-865D-6FA4EAC379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32389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E48B4-F4ED-4DA0-AE35-136D1133A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65DC66A-BAB7-4355-9ED4-0CA743C61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E7440-A164-4BE7-A683-1DC89B30E100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E5CE040-C0D3-40BD-8063-A2DF101E8B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0E5CE040-C0D3-40BD-8063-A2DF101E8B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0E5CE040-C0D3-40BD-8063-A2DF101E8B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4933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5A1AF48-9BFD-46FF-86A7-B55749512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1" y="365760"/>
            <a:ext cx="11173672" cy="1060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0A9DCA-C8FA-4C09-B99A-DC34A0B429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8644D50-66B5-4F98-BB65-0462948F36D0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E2704D-D973-44F5-AFE3-5458B42961F6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9E830F-3EEF-43CF-8DA5-7C9FAB97A0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3E2704D-D973-44F5-AFE3-5458B42961F6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459E830F-3EEF-43CF-8DA5-7C9FAB97A0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3E2704D-D973-44F5-AFE3-5458B42961F6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459E830F-3EEF-43CF-8DA5-7C9FAB97A0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67500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" y="4267200"/>
            <a:ext cx="12188824" cy="18288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A6472576-AA86-442F-942A-4D33C4E2B31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1930" y="365760"/>
            <a:ext cx="11177153" cy="365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071916-F690-4209-B46C-EC1B2FCDBE7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04306A5D-4C19-4CEA-B7B4-5CF5FBCE4B8F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0861592-E564-44B4-A852-0D4E56011C1F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2063E46-1CE4-4B18-8360-8C206F79FA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0861592-E564-44B4-A852-0D4E56011C1F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2063E46-1CE4-4B18-8360-8C206F79FA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0861592-E564-44B4-A852-0D4E56011C1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A2063E46-1CE4-4B18-8360-8C206F79FA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33676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D9B5BD-B7AB-4911-895E-9E202985C1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DB0EFEF-BBC8-473D-9AE1-F3955CF8ED7D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BA89284-C4DA-40FB-8673-D09F327E1187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E404F8E-3569-4CB7-9779-AC1B195FD6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BA89284-C4DA-40FB-8673-D09F327E1187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E404F8E-3569-4CB7-9779-AC1B195FD6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BA89284-C4DA-40FB-8673-D09F327E1187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5E404F8E-3569-4CB7-9779-AC1B195FD6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03127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24000"/>
            <a:ext cx="12188825" cy="4572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701FDA-857B-4B97-A1E3-A1B888D9C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1" y="365760"/>
            <a:ext cx="11173672" cy="1060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6CC38F-9F2A-422F-979B-8828A725FA8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53C89F2-7833-484F-A65C-662F6D68DDD3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6E7E8EB-BBE8-401F-8C15-7A754DD1C2CB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82F5B8BF-A1CE-42CC-ACF4-0A5192FDE5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6E7E8EB-BBE8-401F-8C15-7A754DD1C2CB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2F5B8BF-A1CE-42CC-ACF4-0A5192FDE5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6E7E8EB-BBE8-401F-8C15-7A754DD1C2CB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82F5B8BF-A1CE-42CC-ACF4-0A5192FDE5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81173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2"/>
            <a:ext cx="5484971" cy="573023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Media Placeholder 15">
            <a:extLst>
              <a:ext uri="{FF2B5EF4-FFF2-40B4-BE49-F238E27FC236}">
                <a16:creationId xmlns:a16="http://schemas.microsoft.com/office/drawing/2014/main" id="{CEB5CA12-0E7C-45C9-92C9-E64DA006575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5996902" cy="6096000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9F91859-85A6-4652-BB50-DE18F40DAE1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2891E91-9488-4616-A4E9-562C551F1C22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6A4D1D-419D-453A-9A35-9EF2960602A8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AA30451-9D03-4FA5-AF5E-920706E8ED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B6A4D1D-419D-453A-9A35-9EF2960602A8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3AA30451-9D03-4FA5-AF5E-920706E8ED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B6A4D1D-419D-453A-9A35-9EF2960602A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3AA30451-9D03-4FA5-AF5E-920706E8ED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92622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0"/>
            <a:ext cx="5484971" cy="57302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E3F330-9F76-4B2D-936C-BA16606110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5997071" cy="6096000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C1D49F-49AB-492E-AADA-3FDC394DFDF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3F262AA-DEDE-48CB-AC20-EF8642D85293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92DAA9B-CFA7-4AA1-B116-CD98263A7298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3F9A740-E5A2-4D3A-836A-46E192FC21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92DAA9B-CFA7-4AA1-B116-CD98263A7298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3F9A740-E5A2-4D3A-836A-46E192FC21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92DAA9B-CFA7-4AA1-B116-CD98263A729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33F9A740-E5A2-4D3A-836A-46E192FC21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39093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7968"/>
            <a:ext cx="12174665" cy="68500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6651" y="2438400"/>
            <a:ext cx="10360501" cy="438912"/>
          </a:xfrm>
        </p:spPr>
        <p:txBody>
          <a:bodyPr anchor="b" anchorCtr="0">
            <a:noAutofit/>
          </a:bodyPr>
          <a:lstStyle>
            <a:lvl1pPr>
              <a:defRPr sz="426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6651" y="3255264"/>
            <a:ext cx="10360501" cy="841248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666">
                <a:solidFill>
                  <a:schemeClr val="tx1"/>
                </a:solidFill>
              </a:defRPr>
            </a:lvl1pPr>
            <a:lvl2pPr marL="0" indent="0">
              <a:buNone/>
              <a:defRPr sz="2666">
                <a:solidFill>
                  <a:schemeClr val="tx1"/>
                </a:solidFill>
              </a:defRPr>
            </a:lvl2pPr>
            <a:lvl3pPr marL="0" indent="0">
              <a:buNone/>
              <a:defRPr sz="2666">
                <a:solidFill>
                  <a:schemeClr val="tx1"/>
                </a:solidFill>
              </a:defRPr>
            </a:lvl3pPr>
            <a:lvl4pPr marL="0" indent="0">
              <a:buNone/>
              <a:defRPr sz="2666">
                <a:solidFill>
                  <a:schemeClr val="tx1"/>
                </a:solidFill>
              </a:defRPr>
            </a:lvl4pPr>
            <a:lvl5pPr marL="0" indent="0">
              <a:buNone/>
              <a:defRPr sz="2666">
                <a:solidFill>
                  <a:schemeClr val="tx1"/>
                </a:solidFill>
              </a:defRPr>
            </a:lvl5pPr>
            <a:lvl6pPr marL="0" indent="0">
              <a:buNone/>
              <a:defRPr sz="2666">
                <a:solidFill>
                  <a:schemeClr val="tx1"/>
                </a:solidFill>
              </a:defRPr>
            </a:lvl6pPr>
            <a:lvl7pPr marL="0" indent="0">
              <a:buNone/>
              <a:defRPr sz="2666">
                <a:solidFill>
                  <a:schemeClr val="tx1"/>
                </a:solidFill>
              </a:defRPr>
            </a:lvl7pPr>
            <a:lvl8pPr marL="0" indent="0">
              <a:buNone/>
              <a:defRPr sz="2666">
                <a:solidFill>
                  <a:schemeClr val="tx1"/>
                </a:solidFill>
              </a:defRPr>
            </a:lvl8pPr>
            <a:lvl9pPr marL="0" indent="0">
              <a:buNone/>
              <a:defRPr sz="2666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Email (optional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782957" y="-1296364"/>
            <a:ext cx="184731" cy="379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66" dirty="0" err="1">
              <a:solidFill>
                <a:schemeClr val="tx2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/>
        </p:nvCxnSpPr>
        <p:spPr>
          <a:xfrm>
            <a:off x="814638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390744" y="512064"/>
            <a:ext cx="3180378" cy="6827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7968"/>
            <a:ext cx="12174665" cy="6850033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4782957" y="-1296364"/>
            <a:ext cx="184731" cy="379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66" dirty="0" err="1">
              <a:solidFill>
                <a:schemeClr val="tx2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/>
        </p:nvCxnSpPr>
        <p:spPr>
          <a:xfrm>
            <a:off x="814638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390744" y="512064"/>
            <a:ext cx="3180378" cy="68275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7968"/>
            <a:ext cx="12174665" cy="6850033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4782957" y="-1296364"/>
            <a:ext cx="184731" cy="379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66" dirty="0" err="1">
              <a:solidFill>
                <a:schemeClr val="tx2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 userDrawn="1"/>
        </p:nvCxnSpPr>
        <p:spPr>
          <a:xfrm>
            <a:off x="814638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8390744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97332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Header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7C4CB0-E1A6-4DBC-8C27-B432BF957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947146-9954-4458-9279-AA08A3B071CD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9FAE45-F8BC-40F3-9164-D36C18C3F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3BC111-2740-46AF-A4EE-25875C41C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9227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7A35C2-C0F4-49D9-B722-67323A6F7FD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3AED819-68E9-4C82-9F88-87FDA99CDA3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8FFCDF-15C2-443A-9747-477B83B8CFC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063F49-35A6-44FE-8D1B-AF1E3728CAC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6EBED9-9EFE-447A-BEE0-FCC12D286A7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B87AFB02-A938-4E08-B29B-ED6F9D4431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7847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4BA977D-F01B-45A3-A788-241A0D7E09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935981"/>
            <a:ext cx="12188825" cy="9220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B63AD2-13B3-4C1A-81A7-6B8DAA7875C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609442" y="512064"/>
            <a:ext cx="3180378" cy="6827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09441" y="2255520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tx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© 2018 Cognizan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2D38650-2189-4A4F-AD30-9C41C4094C5F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264977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5F1FCDD-9A69-4405-B89F-CFDAF1874A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88825" cy="68681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6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8 Cognizant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88521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6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8 Cognizant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15569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icture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2BD88AD-BF9F-4A95-ACE0-0665F32F8DF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6774" y="1682496"/>
            <a:ext cx="685418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58" indent="-37785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marL="609448" lvl="1" indent="-609448">
              <a:buNone/>
            </a:pPr>
            <a:endParaRPr kumimoji="0" lang="en-US" sz="3732" b="0" i="0" u="none" strike="noStrike" kern="1200" cap="none" spc="0" normalizeH="0" baseline="0" noProof="0" dirty="0">
              <a:ln>
                <a:noFill/>
              </a:ln>
              <a:solidFill>
                <a:srgbClr val="0033B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A5CEAD-8DF7-4847-A3C5-A3EBD2E6DC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07868" y="1682495"/>
            <a:ext cx="3675693" cy="4425696"/>
          </a:xfrm>
          <a:noFill/>
        </p:spPr>
        <p:txBody>
          <a:bodyPr/>
          <a:lstStyle>
            <a:lvl1pPr marL="0" marR="0" indent="0" algn="l" defTabSz="609448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609448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CB4A54-5341-4A6F-9733-3D09E3B0E7F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9E508C-8E0B-469F-A2D9-AC62101F5C05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9F96F16-06EB-41EA-A547-8A5407FBCF4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CDF8484-6FCC-46A8-B1A4-B877ED71BD2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F8FABAD-01EF-483E-B2EF-403B57169C4D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42CD7C5-2D34-4C27-8DA0-D81A9530F1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224904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E686D16-B817-4FD7-91EF-E75DCEECBD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03805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58" indent="-37785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0FADBE-3030-4F6C-88B1-C1A6FD63B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A04BE0-EF35-4D6F-B801-4137CADB0D75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282AB7-CA5B-4BB2-9297-72F42A2F2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F0976E-13F2-445E-A5C4-28915A054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211AD09-EFF5-4259-BC1F-AFBAA6EE5437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5BD48D0-E8C8-4058-B322-A6DC8E33D7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7755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682496"/>
            <a:ext cx="11177153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58313F-8A13-4A41-A8D7-31FB2FB074C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7504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7C4CB0-E1A6-4DBC-8C27-B432BF957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947146-9954-4458-9279-AA08A3B071CD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9FAE45-F8BC-40F3-9164-D36C18C3F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3BC111-2740-46AF-A4EE-25875C41C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40949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7A35C2-C0F4-49D9-B722-67323A6F7FD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9509183-A3A4-4971-BEBF-1DCDFEAEA734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8FFCDF-15C2-443A-9747-477B83B8CFC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063F49-35A6-44FE-8D1B-AF1E3728CAC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6EBED9-9EFE-447A-BEE0-FCC12D286A7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B87AFB02-A938-4E08-B29B-ED6F9D4431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09135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1/3,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7380334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31406E-2CA1-499E-A808-27B124490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6C5538-3BC1-4274-BECE-326EC075782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5E847-C84C-457F-B901-2EEB12AD94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C10D1C-F2EA-46B6-B35A-881C8F5C6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149C702-A52C-4836-AD09-FFA898A62A9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FD43C0D-A77C-4195-A4E0-023F5CDE94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65917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7380334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C60974-838A-40CC-8A5B-B6116CA4D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1B6AA-52B4-494A-A3CC-9F631DBC049D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E2370C-3F6B-42C0-8834-DB3406097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C5B230-74A0-418F-BBA9-0B141D8CA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C70E20-6501-4F77-9CBC-3806310ED989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DDA0DA6-E3B0-4903-A9B6-BBC566D4D7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0832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1/3,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7380334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31406E-2CA1-499E-A808-27B124490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64E4A-E694-4F54-A4D8-74459EC7FBEC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5E847-C84C-457F-B901-2EEB12AD94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C10D1C-F2EA-46B6-B35A-881C8F5C6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149C702-A52C-4836-AD09-FFA898A62A9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FD43C0D-A77C-4195-A4E0-023F5CDE94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86485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69CF19-0589-4E7F-87F9-FC7CAC6AC6D8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20445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2A1A39-C278-49C1-98BD-03DFB86ACBB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A4F26AE-5454-4F9D-AAE5-D3D002DD7C9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A52B1C-E724-479F-B20E-0E459E80FD0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78CA9C-FCAF-4B99-B5F6-60AF3219B3B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DCFE254-800B-4596-8FBC-3984CE5AE78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304A10A-1409-4F5A-9F54-EB802809A8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56570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B5CE85F-2A75-4693-93B8-CBF7927F72B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04109" y="2987040"/>
            <a:ext cx="5484971" cy="3121152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33434-287A-47FC-8826-927D06662D6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98D386E0-6517-4865-845C-C9D03EFE0238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131ED2-2FB0-4787-9839-9D3116D30B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BA36B9-835B-4A55-994F-E64CDB64656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D11681F-8020-4D84-9273-264D5F39BDA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B1E49D76-A2A1-4E8C-8CF5-299D8A1F2A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90286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09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1325C43-3F77-4CF9-8E6F-F5DB1CDCD7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11929" y="2987040"/>
            <a:ext cx="5484971" cy="3121152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33C2E1-148D-4C6B-A6B6-6408779530FF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BCD788F-B9E9-4F14-B100-50586E972F9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F894B6-9AEC-449F-97A3-25262205013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6B10EAF-6394-4900-AC77-D434D0DE4BE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C731D1-00A8-4565-A437-8595C7E6650E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7ECD6034-AE10-44AD-8FB1-7887B1710CE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51788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6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76679"/>
            <a:ext cx="3583515" cy="21579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0" y="4098770"/>
            <a:ext cx="3583515" cy="201167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14844" y="1676679"/>
            <a:ext cx="3583515" cy="21579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F3A29B0-716A-4C35-A013-3FAC88D7A80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314844" y="4096512"/>
            <a:ext cx="3583515" cy="201167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44F57E95-9B34-49D0-B2D5-56ED760D9CA1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05568" y="1682496"/>
            <a:ext cx="3583515" cy="21579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EF22231-FA42-42CF-AB2B-892F463A81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05568" y="4096512"/>
            <a:ext cx="3583515" cy="2011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366D76-6B79-48C4-8251-348E1555D51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01856AD-287E-4B42-827F-672E72E0C41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B02B7B-0702-48E3-8554-1CD7C994F25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C8D6D6-7FF6-449D-9219-4E96EBA4FD1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9F1CC7F-1769-4309-B028-FCCD6DB279B4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402C49C4-4B74-4AA3-BB68-2300CD8650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6319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D7697-AE57-43B3-A9C4-B97982A7969B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8BD2276-8977-4766-9164-0C1C18520B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7971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32BF87-93DB-41AC-97FE-D5B0EDE196CB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0A897C52-38E8-4C02-B11A-8278FD59AD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4112" y="1682495"/>
            <a:ext cx="5984713" cy="4425696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E6D374-812D-46BD-ACCF-706447B9BF2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19826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3AD6C-D0A4-4637-9498-78703FB83037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C20B5319-2B45-4252-BEAB-FDF0E14B7070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6204112" y="1682496"/>
            <a:ext cx="5984713" cy="44256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Insert Media he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8E423FB-65E5-44B7-A219-A6E67DC3F2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52921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6FEAAF-6EEB-4F52-AFCF-EAA3159D879B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A665A60-4126-4C36-935C-5B20305506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35688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Picture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3E752-6178-4BDC-A142-2B2569EDD04D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791A77E-A9F3-439D-B41C-153F4D9DA6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682496"/>
            <a:ext cx="5996902" cy="442569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3101BBA-D0AC-40A0-823F-9602CC0602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29909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Media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964B7-435C-4AA1-A62E-A1663B69728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7A841180-8D0B-4829-9826-A334842E6739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0" y="1682496"/>
            <a:ext cx="5996902" cy="4425696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0714AE5-4850-4466-8C9F-DD59FC000F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8641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5.xml"/><Relationship Id="rId18" Type="http://schemas.openxmlformats.org/officeDocument/2006/relationships/slideLayout" Target="../slideLayouts/slideLayout250.xml"/><Relationship Id="rId26" Type="http://schemas.openxmlformats.org/officeDocument/2006/relationships/slideLayout" Target="../slideLayouts/slideLayout258.xml"/><Relationship Id="rId3" Type="http://schemas.openxmlformats.org/officeDocument/2006/relationships/slideLayout" Target="../slideLayouts/slideLayout235.xml"/><Relationship Id="rId21" Type="http://schemas.openxmlformats.org/officeDocument/2006/relationships/slideLayout" Target="../slideLayouts/slideLayout253.xml"/><Relationship Id="rId34" Type="http://schemas.openxmlformats.org/officeDocument/2006/relationships/theme" Target="../theme/theme10.xml"/><Relationship Id="rId7" Type="http://schemas.openxmlformats.org/officeDocument/2006/relationships/slideLayout" Target="../slideLayouts/slideLayout239.xml"/><Relationship Id="rId12" Type="http://schemas.openxmlformats.org/officeDocument/2006/relationships/slideLayout" Target="../slideLayouts/slideLayout244.xml"/><Relationship Id="rId17" Type="http://schemas.openxmlformats.org/officeDocument/2006/relationships/slideLayout" Target="../slideLayouts/slideLayout249.xml"/><Relationship Id="rId25" Type="http://schemas.openxmlformats.org/officeDocument/2006/relationships/slideLayout" Target="../slideLayouts/slideLayout257.xml"/><Relationship Id="rId33" Type="http://schemas.openxmlformats.org/officeDocument/2006/relationships/slideLayout" Target="../slideLayouts/slideLayout265.xml"/><Relationship Id="rId2" Type="http://schemas.openxmlformats.org/officeDocument/2006/relationships/slideLayout" Target="../slideLayouts/slideLayout234.xml"/><Relationship Id="rId16" Type="http://schemas.openxmlformats.org/officeDocument/2006/relationships/slideLayout" Target="../slideLayouts/slideLayout248.xml"/><Relationship Id="rId20" Type="http://schemas.openxmlformats.org/officeDocument/2006/relationships/slideLayout" Target="../slideLayouts/slideLayout252.xml"/><Relationship Id="rId29" Type="http://schemas.openxmlformats.org/officeDocument/2006/relationships/slideLayout" Target="../slideLayouts/slideLayout261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24" Type="http://schemas.openxmlformats.org/officeDocument/2006/relationships/slideLayout" Target="../slideLayouts/slideLayout256.xml"/><Relationship Id="rId32" Type="http://schemas.openxmlformats.org/officeDocument/2006/relationships/slideLayout" Target="../slideLayouts/slideLayout264.xml"/><Relationship Id="rId5" Type="http://schemas.openxmlformats.org/officeDocument/2006/relationships/slideLayout" Target="../slideLayouts/slideLayout237.xml"/><Relationship Id="rId15" Type="http://schemas.openxmlformats.org/officeDocument/2006/relationships/slideLayout" Target="../slideLayouts/slideLayout247.xml"/><Relationship Id="rId23" Type="http://schemas.openxmlformats.org/officeDocument/2006/relationships/slideLayout" Target="../slideLayouts/slideLayout255.xml"/><Relationship Id="rId28" Type="http://schemas.openxmlformats.org/officeDocument/2006/relationships/slideLayout" Target="../slideLayouts/slideLayout260.xml"/><Relationship Id="rId10" Type="http://schemas.openxmlformats.org/officeDocument/2006/relationships/slideLayout" Target="../slideLayouts/slideLayout242.xml"/><Relationship Id="rId19" Type="http://schemas.openxmlformats.org/officeDocument/2006/relationships/slideLayout" Target="../slideLayouts/slideLayout251.xml"/><Relationship Id="rId31" Type="http://schemas.openxmlformats.org/officeDocument/2006/relationships/slideLayout" Target="../slideLayouts/slideLayout263.xml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Relationship Id="rId14" Type="http://schemas.openxmlformats.org/officeDocument/2006/relationships/slideLayout" Target="../slideLayouts/slideLayout246.xml"/><Relationship Id="rId22" Type="http://schemas.openxmlformats.org/officeDocument/2006/relationships/slideLayout" Target="../slideLayouts/slideLayout254.xml"/><Relationship Id="rId27" Type="http://schemas.openxmlformats.org/officeDocument/2006/relationships/slideLayout" Target="../slideLayouts/slideLayout259.xml"/><Relationship Id="rId30" Type="http://schemas.openxmlformats.org/officeDocument/2006/relationships/slideLayout" Target="../slideLayouts/slideLayout262.xml"/><Relationship Id="rId8" Type="http://schemas.openxmlformats.org/officeDocument/2006/relationships/slideLayout" Target="../slideLayouts/slideLayout24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image" Target="../media/image9.png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slideLayout" Target="../slideLayouts/slideLayout79.xml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2.xml"/><Relationship Id="rId18" Type="http://schemas.openxmlformats.org/officeDocument/2006/relationships/slideLayout" Target="../slideLayouts/slideLayout97.xml"/><Relationship Id="rId26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82.xml"/><Relationship Id="rId21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5" Type="http://schemas.openxmlformats.org/officeDocument/2006/relationships/slideLayout" Target="../slideLayouts/slideLayout104.xml"/><Relationship Id="rId33" Type="http://schemas.openxmlformats.org/officeDocument/2006/relationships/theme" Target="../theme/theme4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20" Type="http://schemas.openxmlformats.org/officeDocument/2006/relationships/slideLayout" Target="../slideLayouts/slideLayout99.xml"/><Relationship Id="rId29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24" Type="http://schemas.openxmlformats.org/officeDocument/2006/relationships/slideLayout" Target="../slideLayouts/slideLayout103.xml"/><Relationship Id="rId32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23" Type="http://schemas.openxmlformats.org/officeDocument/2006/relationships/slideLayout" Target="../slideLayouts/slideLayout102.xml"/><Relationship Id="rId28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89.xml"/><Relationship Id="rId19" Type="http://schemas.openxmlformats.org/officeDocument/2006/relationships/slideLayout" Target="../slideLayouts/slideLayout98.xml"/><Relationship Id="rId31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Relationship Id="rId22" Type="http://schemas.openxmlformats.org/officeDocument/2006/relationships/slideLayout" Target="../slideLayouts/slideLayout101.xml"/><Relationship Id="rId27" Type="http://schemas.openxmlformats.org/officeDocument/2006/relationships/slideLayout" Target="../slideLayouts/slideLayout106.xml"/><Relationship Id="rId30" Type="http://schemas.openxmlformats.org/officeDocument/2006/relationships/slideLayout" Target="../slideLayouts/slideLayout109.xml"/><Relationship Id="rId8" Type="http://schemas.openxmlformats.org/officeDocument/2006/relationships/slideLayout" Target="../slideLayouts/slideLayout87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4.xml"/><Relationship Id="rId18" Type="http://schemas.openxmlformats.org/officeDocument/2006/relationships/slideLayout" Target="../slideLayouts/slideLayout129.xml"/><Relationship Id="rId26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14.xml"/><Relationship Id="rId21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17" Type="http://schemas.openxmlformats.org/officeDocument/2006/relationships/slideLayout" Target="../slideLayouts/slideLayout128.xml"/><Relationship Id="rId25" Type="http://schemas.openxmlformats.org/officeDocument/2006/relationships/slideLayout" Target="../slideLayouts/slideLayout136.xml"/><Relationship Id="rId33" Type="http://schemas.openxmlformats.org/officeDocument/2006/relationships/theme" Target="../theme/theme5.xml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0" Type="http://schemas.openxmlformats.org/officeDocument/2006/relationships/slideLayout" Target="../slideLayouts/slideLayout131.xml"/><Relationship Id="rId29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24" Type="http://schemas.openxmlformats.org/officeDocument/2006/relationships/slideLayout" Target="../slideLayouts/slideLayout135.xml"/><Relationship Id="rId32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6.xml"/><Relationship Id="rId23" Type="http://schemas.openxmlformats.org/officeDocument/2006/relationships/slideLayout" Target="../slideLayouts/slideLayout134.xml"/><Relationship Id="rId28" Type="http://schemas.openxmlformats.org/officeDocument/2006/relationships/slideLayout" Target="../slideLayouts/slideLayout139.xml"/><Relationship Id="rId10" Type="http://schemas.openxmlformats.org/officeDocument/2006/relationships/slideLayout" Target="../slideLayouts/slideLayout121.xml"/><Relationship Id="rId19" Type="http://schemas.openxmlformats.org/officeDocument/2006/relationships/slideLayout" Target="../slideLayouts/slideLayout130.xml"/><Relationship Id="rId31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Relationship Id="rId22" Type="http://schemas.openxmlformats.org/officeDocument/2006/relationships/slideLayout" Target="../slideLayouts/slideLayout133.xml"/><Relationship Id="rId27" Type="http://schemas.openxmlformats.org/officeDocument/2006/relationships/slideLayout" Target="../slideLayouts/slideLayout138.xml"/><Relationship Id="rId30" Type="http://schemas.openxmlformats.org/officeDocument/2006/relationships/slideLayout" Target="../slideLayouts/slideLayout141.xml"/><Relationship Id="rId8" Type="http://schemas.openxmlformats.org/officeDocument/2006/relationships/slideLayout" Target="../slideLayouts/slideLayout119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6.xml"/><Relationship Id="rId18" Type="http://schemas.openxmlformats.org/officeDocument/2006/relationships/slideLayout" Target="../slideLayouts/slideLayout161.xml"/><Relationship Id="rId26" Type="http://schemas.openxmlformats.org/officeDocument/2006/relationships/slideLayout" Target="../slideLayouts/slideLayout169.xml"/><Relationship Id="rId3" Type="http://schemas.openxmlformats.org/officeDocument/2006/relationships/slideLayout" Target="../slideLayouts/slideLayout146.xml"/><Relationship Id="rId21" Type="http://schemas.openxmlformats.org/officeDocument/2006/relationships/slideLayout" Target="../slideLayouts/slideLayout164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150.xml"/><Relationship Id="rId12" Type="http://schemas.openxmlformats.org/officeDocument/2006/relationships/slideLayout" Target="../slideLayouts/slideLayout155.xml"/><Relationship Id="rId17" Type="http://schemas.openxmlformats.org/officeDocument/2006/relationships/slideLayout" Target="../slideLayouts/slideLayout160.xml"/><Relationship Id="rId25" Type="http://schemas.openxmlformats.org/officeDocument/2006/relationships/slideLayout" Target="../slideLayouts/slideLayout168.xml"/><Relationship Id="rId33" Type="http://schemas.openxmlformats.org/officeDocument/2006/relationships/slideLayout" Target="../slideLayouts/slideLayout176.xml"/><Relationship Id="rId2" Type="http://schemas.openxmlformats.org/officeDocument/2006/relationships/slideLayout" Target="../slideLayouts/slideLayout145.xml"/><Relationship Id="rId16" Type="http://schemas.openxmlformats.org/officeDocument/2006/relationships/slideLayout" Target="../slideLayouts/slideLayout159.xml"/><Relationship Id="rId20" Type="http://schemas.openxmlformats.org/officeDocument/2006/relationships/slideLayout" Target="../slideLayouts/slideLayout163.xml"/><Relationship Id="rId29" Type="http://schemas.openxmlformats.org/officeDocument/2006/relationships/slideLayout" Target="../slideLayouts/slideLayout172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24" Type="http://schemas.openxmlformats.org/officeDocument/2006/relationships/slideLayout" Target="../slideLayouts/slideLayout167.xml"/><Relationship Id="rId32" Type="http://schemas.openxmlformats.org/officeDocument/2006/relationships/slideLayout" Target="../slideLayouts/slideLayout175.xml"/><Relationship Id="rId5" Type="http://schemas.openxmlformats.org/officeDocument/2006/relationships/slideLayout" Target="../slideLayouts/slideLayout148.xml"/><Relationship Id="rId15" Type="http://schemas.openxmlformats.org/officeDocument/2006/relationships/slideLayout" Target="../slideLayouts/slideLayout158.xml"/><Relationship Id="rId23" Type="http://schemas.openxmlformats.org/officeDocument/2006/relationships/slideLayout" Target="../slideLayouts/slideLayout166.xml"/><Relationship Id="rId28" Type="http://schemas.openxmlformats.org/officeDocument/2006/relationships/slideLayout" Target="../slideLayouts/slideLayout171.xml"/><Relationship Id="rId10" Type="http://schemas.openxmlformats.org/officeDocument/2006/relationships/slideLayout" Target="../slideLayouts/slideLayout153.xml"/><Relationship Id="rId19" Type="http://schemas.openxmlformats.org/officeDocument/2006/relationships/slideLayout" Target="../slideLayouts/slideLayout162.xml"/><Relationship Id="rId31" Type="http://schemas.openxmlformats.org/officeDocument/2006/relationships/slideLayout" Target="../slideLayouts/slideLayout174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slideLayout" Target="../slideLayouts/slideLayout157.xml"/><Relationship Id="rId22" Type="http://schemas.openxmlformats.org/officeDocument/2006/relationships/slideLayout" Target="../slideLayouts/slideLayout165.xml"/><Relationship Id="rId27" Type="http://schemas.openxmlformats.org/officeDocument/2006/relationships/slideLayout" Target="../slideLayouts/slideLayout170.xml"/><Relationship Id="rId30" Type="http://schemas.openxmlformats.org/officeDocument/2006/relationships/slideLayout" Target="../slideLayouts/slideLayout173.xml"/><Relationship Id="rId8" Type="http://schemas.openxmlformats.org/officeDocument/2006/relationships/slideLayout" Target="../slideLayouts/slideLayout15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9.xml"/><Relationship Id="rId18" Type="http://schemas.openxmlformats.org/officeDocument/2006/relationships/slideLayout" Target="../slideLayouts/slideLayout194.xml"/><Relationship Id="rId26" Type="http://schemas.openxmlformats.org/officeDocument/2006/relationships/slideLayout" Target="../slideLayouts/slideLayout202.xml"/><Relationship Id="rId3" Type="http://schemas.openxmlformats.org/officeDocument/2006/relationships/slideLayout" Target="../slideLayouts/slideLayout179.xml"/><Relationship Id="rId21" Type="http://schemas.openxmlformats.org/officeDocument/2006/relationships/slideLayout" Target="../slideLayouts/slideLayout197.xml"/><Relationship Id="rId7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88.xml"/><Relationship Id="rId17" Type="http://schemas.openxmlformats.org/officeDocument/2006/relationships/slideLayout" Target="../slideLayouts/slideLayout193.xml"/><Relationship Id="rId25" Type="http://schemas.openxmlformats.org/officeDocument/2006/relationships/slideLayout" Target="../slideLayouts/slideLayout201.xml"/><Relationship Id="rId33" Type="http://schemas.openxmlformats.org/officeDocument/2006/relationships/theme" Target="../theme/theme7.xml"/><Relationship Id="rId2" Type="http://schemas.openxmlformats.org/officeDocument/2006/relationships/slideLayout" Target="../slideLayouts/slideLayout178.xml"/><Relationship Id="rId16" Type="http://schemas.openxmlformats.org/officeDocument/2006/relationships/slideLayout" Target="../slideLayouts/slideLayout192.xml"/><Relationship Id="rId20" Type="http://schemas.openxmlformats.org/officeDocument/2006/relationships/slideLayout" Target="../slideLayouts/slideLayout196.xml"/><Relationship Id="rId29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24" Type="http://schemas.openxmlformats.org/officeDocument/2006/relationships/slideLayout" Target="../slideLayouts/slideLayout200.xml"/><Relationship Id="rId32" Type="http://schemas.openxmlformats.org/officeDocument/2006/relationships/slideLayout" Target="../slideLayouts/slideLayout208.xml"/><Relationship Id="rId5" Type="http://schemas.openxmlformats.org/officeDocument/2006/relationships/slideLayout" Target="../slideLayouts/slideLayout181.xml"/><Relationship Id="rId15" Type="http://schemas.openxmlformats.org/officeDocument/2006/relationships/slideLayout" Target="../slideLayouts/slideLayout191.xml"/><Relationship Id="rId23" Type="http://schemas.openxmlformats.org/officeDocument/2006/relationships/slideLayout" Target="../slideLayouts/slideLayout199.xml"/><Relationship Id="rId28" Type="http://schemas.openxmlformats.org/officeDocument/2006/relationships/slideLayout" Target="../slideLayouts/slideLayout204.xml"/><Relationship Id="rId10" Type="http://schemas.openxmlformats.org/officeDocument/2006/relationships/slideLayout" Target="../slideLayouts/slideLayout186.xml"/><Relationship Id="rId19" Type="http://schemas.openxmlformats.org/officeDocument/2006/relationships/slideLayout" Target="../slideLayouts/slideLayout195.xml"/><Relationship Id="rId31" Type="http://schemas.openxmlformats.org/officeDocument/2006/relationships/slideLayout" Target="../slideLayouts/slideLayout207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Relationship Id="rId22" Type="http://schemas.openxmlformats.org/officeDocument/2006/relationships/slideLayout" Target="../slideLayouts/slideLayout198.xml"/><Relationship Id="rId27" Type="http://schemas.openxmlformats.org/officeDocument/2006/relationships/slideLayout" Target="../slideLayouts/slideLayout203.xml"/><Relationship Id="rId30" Type="http://schemas.openxmlformats.org/officeDocument/2006/relationships/slideLayout" Target="../slideLayouts/slideLayout206.xml"/><Relationship Id="rId8" Type="http://schemas.openxmlformats.org/officeDocument/2006/relationships/slideLayout" Target="../slideLayouts/slideLayout18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slideLayout" Target="../slideLayouts/slideLayout221.xml"/><Relationship Id="rId18" Type="http://schemas.openxmlformats.org/officeDocument/2006/relationships/slideLayout" Target="../slideLayouts/slideLayout226.xml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0.xml"/><Relationship Id="rId17" Type="http://schemas.openxmlformats.org/officeDocument/2006/relationships/slideLayout" Target="../slideLayouts/slideLayout225.xml"/><Relationship Id="rId2" Type="http://schemas.openxmlformats.org/officeDocument/2006/relationships/slideLayout" Target="../slideLayouts/slideLayout210.xml"/><Relationship Id="rId16" Type="http://schemas.openxmlformats.org/officeDocument/2006/relationships/slideLayout" Target="../slideLayouts/slideLayout224.xml"/><Relationship Id="rId20" Type="http://schemas.openxmlformats.org/officeDocument/2006/relationships/image" Target="../media/image32.png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5" Type="http://schemas.openxmlformats.org/officeDocument/2006/relationships/slideLayout" Target="../slideLayouts/slideLayout213.xml"/><Relationship Id="rId15" Type="http://schemas.openxmlformats.org/officeDocument/2006/relationships/slideLayout" Target="../slideLayouts/slideLayout223.xml"/><Relationship Id="rId10" Type="http://schemas.openxmlformats.org/officeDocument/2006/relationships/slideLayout" Target="../slideLayouts/slideLayout218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slideLayout" Target="../slideLayouts/slideLayout22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229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228.xml"/><Relationship Id="rId1" Type="http://schemas.openxmlformats.org/officeDocument/2006/relationships/slideLayout" Target="../slideLayouts/slideLayout227.xml"/><Relationship Id="rId6" Type="http://schemas.openxmlformats.org/officeDocument/2006/relationships/slideLayout" Target="../slideLayouts/slideLayout232.xml"/><Relationship Id="rId5" Type="http://schemas.openxmlformats.org/officeDocument/2006/relationships/slideLayout" Target="../slideLayouts/slideLayout231.xml"/><Relationship Id="rId4" Type="http://schemas.openxmlformats.org/officeDocument/2006/relationships/slideLayout" Target="../slideLayouts/slideLayout2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30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17B5ED4-B674-4C32-9514-6C6A986BC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24CA83D3-FD04-4619-9DD5-38D065B95289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B68013F-8083-4869-B1B8-42E270F30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2EC2F54-FE71-419F-B3E9-62861D2AA5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accent6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2055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  <p:sldLayoutId id="2147483664" r:id="rId11"/>
    <p:sldLayoutId id="2147483665" r:id="rId12"/>
    <p:sldLayoutId id="2147483666" r:id="rId13"/>
    <p:sldLayoutId id="2147483667" r:id="rId14"/>
    <p:sldLayoutId id="2147483668" r:id="rId15"/>
    <p:sldLayoutId id="2147483669" r:id="rId16"/>
    <p:sldLayoutId id="2147483670" r:id="rId17"/>
    <p:sldLayoutId id="2147483671" r:id="rId18"/>
    <p:sldLayoutId id="2147483672" r:id="rId19"/>
    <p:sldLayoutId id="2147483673" r:id="rId20"/>
    <p:sldLayoutId id="2147483674" r:id="rId21"/>
    <p:sldLayoutId id="2147483675" r:id="rId22"/>
    <p:sldLayoutId id="2147483676" r:id="rId23"/>
    <p:sldLayoutId id="2147483677" r:id="rId24"/>
    <p:sldLayoutId id="2147483678" r:id="rId25"/>
    <p:sldLayoutId id="2147483679" r:id="rId26"/>
    <p:sldLayoutId id="2147483680" r:id="rId27"/>
    <p:sldLayoutId id="2147483681" r:id="rId28"/>
    <p:sldLayoutId id="2147483682" r:id="rId29"/>
    <p:sldLayoutId id="2147483683" r:id="rId30"/>
    <p:sldLayoutId id="2147483684" r:id="rId31"/>
    <p:sldLayoutId id="2147483685" r:id="rId32"/>
  </p:sldLayoutIdLst>
  <p:hf hdr="0" dt="0"/>
  <p:txStyles>
    <p:titleStyle>
      <a:lvl1pPr algn="l" defTabSz="1218895" rtl="0" eaLnBrk="1" latinLnBrk="0" hangingPunct="1">
        <a:lnSpc>
          <a:spcPct val="90000"/>
        </a:lnSpc>
        <a:spcBef>
          <a:spcPct val="0"/>
        </a:spcBef>
        <a:buNone/>
        <a:defRPr sz="3199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8895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4724" indent="-304724" algn="l" defTabSz="1218895" rtl="0" eaLnBrk="1" latinLnBrk="0" hangingPunct="1">
        <a:lnSpc>
          <a:spcPct val="100000"/>
        </a:lnSpc>
        <a:spcBef>
          <a:spcPts val="800"/>
        </a:spcBef>
        <a:buClrTx/>
        <a:buSzPct val="125000"/>
        <a:buFont typeface="Arial" panose="020B0604020202020204" pitchFamily="34" charset="0"/>
        <a:buChar char="•"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09448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171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18895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23619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828343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+mn-lt"/>
          <a:ea typeface="+mn-ea"/>
          <a:cs typeface="+mn-cs"/>
        </a:defRPr>
      </a:lvl7pPr>
      <a:lvl8pPr marL="2133067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8pPr>
      <a:lvl9pPr marL="2133067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30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17B5ED4-B674-4C32-9514-6C6A986BC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2C7141F-1075-416F-B85B-2A67B4DBA6BF}" type="datetime1">
              <a:rPr lang="en-US" smtClean="0"/>
              <a:t>7/11/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B68013F-8083-4869-B1B8-42E270F30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© 2019 Cognizan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2EC2F54-FE71-419F-B3E9-62861D2AA5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accent6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735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  <p:sldLayoutId id="2147483926" r:id="rId14"/>
    <p:sldLayoutId id="2147483927" r:id="rId15"/>
    <p:sldLayoutId id="2147483928" r:id="rId16"/>
    <p:sldLayoutId id="2147483929" r:id="rId17"/>
    <p:sldLayoutId id="2147483930" r:id="rId18"/>
    <p:sldLayoutId id="2147483931" r:id="rId19"/>
    <p:sldLayoutId id="2147483932" r:id="rId20"/>
    <p:sldLayoutId id="2147483933" r:id="rId21"/>
    <p:sldLayoutId id="2147483934" r:id="rId22"/>
    <p:sldLayoutId id="2147483935" r:id="rId23"/>
    <p:sldLayoutId id="2147483936" r:id="rId24"/>
    <p:sldLayoutId id="2147483937" r:id="rId25"/>
    <p:sldLayoutId id="2147483938" r:id="rId26"/>
    <p:sldLayoutId id="2147483939" r:id="rId27"/>
    <p:sldLayoutId id="2147483940" r:id="rId28"/>
    <p:sldLayoutId id="2147483941" r:id="rId29"/>
    <p:sldLayoutId id="2147483942" r:id="rId30"/>
    <p:sldLayoutId id="2147483943" r:id="rId31"/>
    <p:sldLayoutId id="2147483944" r:id="rId32"/>
    <p:sldLayoutId id="2147483946" r:id="rId33"/>
  </p:sldLayoutIdLst>
  <p:hf hdr="0" dt="0"/>
  <p:txStyles>
    <p:titleStyle>
      <a:lvl1pPr algn="l" defTabSz="1218895" rtl="0" eaLnBrk="1" latinLnBrk="0" hangingPunct="1">
        <a:lnSpc>
          <a:spcPct val="90000"/>
        </a:lnSpc>
        <a:spcBef>
          <a:spcPct val="0"/>
        </a:spcBef>
        <a:buNone/>
        <a:defRPr sz="3199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8895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4724" indent="-304724" algn="l" defTabSz="1218895" rtl="0" eaLnBrk="1" latinLnBrk="0" hangingPunct="1">
        <a:lnSpc>
          <a:spcPct val="100000"/>
        </a:lnSpc>
        <a:spcBef>
          <a:spcPts val="800"/>
        </a:spcBef>
        <a:buClrTx/>
        <a:buSzPct val="125000"/>
        <a:buFont typeface="Arial" panose="020B0604020202020204" pitchFamily="34" charset="0"/>
        <a:buChar char="•"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09448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171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18895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23619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828343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+mn-lt"/>
          <a:ea typeface="+mn-ea"/>
          <a:cs typeface="+mn-cs"/>
        </a:defRPr>
      </a:lvl7pPr>
      <a:lvl8pPr marL="2133067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8pPr>
      <a:lvl9pPr marL="2133067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82804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30" y="1193800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17B5ED4-B674-4C32-9514-6C6A986BC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B68013F-8083-4869-B1B8-42E270F30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2EC2F54-FE71-419F-B3E9-62861D2AA5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2CCD4D3-3C75-9040-9FA7-6FCC27366374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CB083EF-DC6B-284B-9EDB-AE9B9CD7AD55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7516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710" r:id="rId11"/>
    <p:sldLayoutId id="2147483711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840" r:id="rId21"/>
  </p:sldLayoutIdLst>
  <p:hf hdr="0" dt="0"/>
  <p:txStyles>
    <p:titleStyle>
      <a:lvl1pPr algn="l" defTabSz="1218866" rtl="0" eaLnBrk="1" latinLnBrk="0" hangingPunct="1">
        <a:lnSpc>
          <a:spcPct val="100000"/>
        </a:lnSpc>
        <a:spcBef>
          <a:spcPct val="0"/>
        </a:spcBef>
        <a:buNone/>
        <a:defRPr sz="2666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8866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399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4716" indent="-304716" algn="l" defTabSz="1218866" rtl="0" eaLnBrk="1" latinLnBrk="0" hangingPunct="1">
        <a:lnSpc>
          <a:spcPct val="100000"/>
        </a:lnSpc>
        <a:spcBef>
          <a:spcPts val="800"/>
        </a:spcBef>
        <a:buClrTx/>
        <a:buSzPct val="125000"/>
        <a:buFont typeface="Arial" panose="020B0604020202020204" pitchFamily="34" charset="0"/>
        <a:buChar char="•"/>
        <a:defRPr sz="2133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09433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1866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149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•"/>
        <a:defRPr sz="1600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18866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1400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23582" indent="-304716" algn="l" defTabSz="1218866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828297" indent="-304716" algn="l" defTabSz="1218866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+mn-lt"/>
          <a:ea typeface="+mn-ea"/>
          <a:cs typeface="+mn-cs"/>
        </a:defRPr>
      </a:lvl7pPr>
      <a:lvl8pPr marL="2133013" indent="-304716" algn="l" defTabSz="1218866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8pPr>
      <a:lvl9pPr marL="2133013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33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6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7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9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2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5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7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9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64">
          <p15:clr>
            <a:srgbClr val="F26B43"/>
          </p15:clr>
        </p15:guide>
        <p15:guide id="2" pos="240">
          <p15:clr>
            <a:srgbClr val="F26B43"/>
          </p15:clr>
        </p15:guide>
        <p15:guide id="3" pos="5544">
          <p15:clr>
            <a:srgbClr val="F26B43"/>
          </p15:clr>
        </p15:guide>
        <p15:guide id="4" orient="horz" pos="301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30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17B5ED4-B674-4C32-9514-6C6A986BC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2C7141F-1075-416F-B85B-2A67B4DBA6B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27689" y="6367657"/>
            <a:ext cx="23963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+mn-lt"/>
                <a:cs typeface="Arial"/>
              </a:rPr>
              <a:t>© 2019 Cognizant </a:t>
            </a:r>
          </a:p>
        </p:txBody>
      </p:sp>
    </p:spTree>
    <p:extLst>
      <p:ext uri="{BB962C8B-B14F-4D97-AF65-F5344CB8AC3E}">
        <p14:creationId xmlns:p14="http://schemas.microsoft.com/office/powerpoint/2010/main" val="2500141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9" r:id="rId26"/>
  </p:sldLayoutIdLst>
  <p:hf hdr="0" dt="0"/>
  <p:txStyles>
    <p:titleStyle>
      <a:lvl1pPr algn="l" defTabSz="1218895" rtl="0" eaLnBrk="1" latinLnBrk="0" hangingPunct="1">
        <a:lnSpc>
          <a:spcPct val="90000"/>
        </a:lnSpc>
        <a:spcBef>
          <a:spcPct val="0"/>
        </a:spcBef>
        <a:buNone/>
        <a:defRPr sz="3199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8895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4724" indent="-304724" algn="l" defTabSz="1218895" rtl="0" eaLnBrk="1" latinLnBrk="0" hangingPunct="1">
        <a:lnSpc>
          <a:spcPct val="100000"/>
        </a:lnSpc>
        <a:spcBef>
          <a:spcPts val="800"/>
        </a:spcBef>
        <a:buClrTx/>
        <a:buSzPct val="125000"/>
        <a:buFont typeface="Arial" panose="020B0604020202020204" pitchFamily="34" charset="0"/>
        <a:buChar char="•"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09448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171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18895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23619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828343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+mn-lt"/>
          <a:ea typeface="+mn-ea"/>
          <a:cs typeface="+mn-cs"/>
        </a:defRPr>
      </a:lvl7pPr>
      <a:lvl8pPr marL="2133067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8pPr>
      <a:lvl9pPr marL="2133067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38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30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17B5ED4-B674-4C32-9514-6C6A986BC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2C7141F-1075-416F-B85B-2A67B4DBA6B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B68013F-8083-4869-B1B8-42E270F30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2EC2F54-FE71-419F-B3E9-62861D2AA5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accent6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708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  <p:sldLayoutId id="2147483759" r:id="rId19"/>
    <p:sldLayoutId id="2147483760" r:id="rId20"/>
    <p:sldLayoutId id="2147483761" r:id="rId21"/>
    <p:sldLayoutId id="2147483762" r:id="rId22"/>
    <p:sldLayoutId id="2147483763" r:id="rId23"/>
    <p:sldLayoutId id="2147483764" r:id="rId24"/>
    <p:sldLayoutId id="2147483765" r:id="rId25"/>
    <p:sldLayoutId id="2147483766" r:id="rId26"/>
    <p:sldLayoutId id="2147483767" r:id="rId27"/>
    <p:sldLayoutId id="2147483768" r:id="rId28"/>
    <p:sldLayoutId id="2147483769" r:id="rId29"/>
    <p:sldLayoutId id="2147483770" r:id="rId30"/>
    <p:sldLayoutId id="2147483771" r:id="rId31"/>
    <p:sldLayoutId id="2147483772" r:id="rId32"/>
  </p:sldLayoutIdLst>
  <p:hf hdr="0" dt="0"/>
  <p:txStyles>
    <p:titleStyle>
      <a:lvl1pPr algn="l" defTabSz="1218895" rtl="0" eaLnBrk="1" latinLnBrk="0" hangingPunct="1">
        <a:lnSpc>
          <a:spcPct val="90000"/>
        </a:lnSpc>
        <a:spcBef>
          <a:spcPct val="0"/>
        </a:spcBef>
        <a:buNone/>
        <a:defRPr sz="3199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8895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4724" indent="-304724" algn="l" defTabSz="1218895" rtl="0" eaLnBrk="1" latinLnBrk="0" hangingPunct="1">
        <a:lnSpc>
          <a:spcPct val="100000"/>
        </a:lnSpc>
        <a:spcBef>
          <a:spcPts val="800"/>
        </a:spcBef>
        <a:buClrTx/>
        <a:buSzPct val="125000"/>
        <a:buFont typeface="Arial" panose="020B0604020202020204" pitchFamily="34" charset="0"/>
        <a:buChar char="•"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09448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171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18895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23619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828343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+mn-lt"/>
          <a:ea typeface="+mn-ea"/>
          <a:cs typeface="+mn-cs"/>
        </a:defRPr>
      </a:lvl7pPr>
      <a:lvl8pPr marL="2133067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8pPr>
      <a:lvl9pPr marL="2133067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30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17B5ED4-B674-4C32-9514-6C6A986BC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24CA83D3-FD04-4619-9DD5-38D065B95289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B68013F-8083-4869-B1B8-42E270F30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2EC2F54-FE71-419F-B3E9-62861D2AA5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accent6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890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  <p:sldLayoutId id="2147483787" r:id="rId14"/>
    <p:sldLayoutId id="2147483788" r:id="rId15"/>
    <p:sldLayoutId id="2147483789" r:id="rId16"/>
    <p:sldLayoutId id="2147483790" r:id="rId17"/>
    <p:sldLayoutId id="2147483791" r:id="rId18"/>
    <p:sldLayoutId id="2147483792" r:id="rId19"/>
    <p:sldLayoutId id="2147483793" r:id="rId20"/>
    <p:sldLayoutId id="2147483794" r:id="rId21"/>
    <p:sldLayoutId id="2147483795" r:id="rId22"/>
    <p:sldLayoutId id="2147483796" r:id="rId23"/>
    <p:sldLayoutId id="2147483797" r:id="rId24"/>
    <p:sldLayoutId id="2147483798" r:id="rId25"/>
    <p:sldLayoutId id="2147483799" r:id="rId26"/>
    <p:sldLayoutId id="2147483800" r:id="rId27"/>
    <p:sldLayoutId id="2147483801" r:id="rId28"/>
    <p:sldLayoutId id="2147483802" r:id="rId29"/>
    <p:sldLayoutId id="2147483803" r:id="rId30"/>
    <p:sldLayoutId id="2147483804" r:id="rId31"/>
    <p:sldLayoutId id="2147483805" r:id="rId32"/>
  </p:sldLayoutIdLst>
  <p:hf hdr="0" dt="0"/>
  <p:txStyles>
    <p:titleStyle>
      <a:lvl1pPr algn="l" defTabSz="1218895" rtl="0" eaLnBrk="1" latinLnBrk="0" hangingPunct="1">
        <a:lnSpc>
          <a:spcPct val="90000"/>
        </a:lnSpc>
        <a:spcBef>
          <a:spcPct val="0"/>
        </a:spcBef>
        <a:buNone/>
        <a:defRPr sz="3199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8895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4724" indent="-304724" algn="l" defTabSz="1218895" rtl="0" eaLnBrk="1" latinLnBrk="0" hangingPunct="1">
        <a:lnSpc>
          <a:spcPct val="100000"/>
        </a:lnSpc>
        <a:spcBef>
          <a:spcPts val="800"/>
        </a:spcBef>
        <a:buClrTx/>
        <a:buSzPct val="125000"/>
        <a:buFont typeface="Arial" panose="020B0604020202020204" pitchFamily="34" charset="0"/>
        <a:buChar char="•"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09448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171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18895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23619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828343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+mn-lt"/>
          <a:ea typeface="+mn-ea"/>
          <a:cs typeface="+mn-cs"/>
        </a:defRPr>
      </a:lvl7pPr>
      <a:lvl8pPr marL="2133067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8pPr>
      <a:lvl9pPr marL="2133067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30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17B5ED4-B674-4C32-9514-6C6A986BC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24CA83D3-FD04-4619-9DD5-38D065B95289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B68013F-8083-4869-B1B8-42E270F30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2EC2F54-FE71-419F-B3E9-62861D2AA5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accent6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403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  <p:sldLayoutId id="2147483818" r:id="rId12"/>
    <p:sldLayoutId id="2147483819" r:id="rId13"/>
    <p:sldLayoutId id="2147483820" r:id="rId14"/>
    <p:sldLayoutId id="2147483821" r:id="rId15"/>
    <p:sldLayoutId id="2147483822" r:id="rId16"/>
    <p:sldLayoutId id="2147483823" r:id="rId17"/>
    <p:sldLayoutId id="2147483824" r:id="rId18"/>
    <p:sldLayoutId id="2147483825" r:id="rId19"/>
    <p:sldLayoutId id="2147483826" r:id="rId20"/>
    <p:sldLayoutId id="2147483827" r:id="rId21"/>
    <p:sldLayoutId id="2147483828" r:id="rId22"/>
    <p:sldLayoutId id="2147483829" r:id="rId23"/>
    <p:sldLayoutId id="2147483830" r:id="rId24"/>
    <p:sldLayoutId id="2147483831" r:id="rId25"/>
    <p:sldLayoutId id="2147483832" r:id="rId26"/>
    <p:sldLayoutId id="2147483833" r:id="rId27"/>
    <p:sldLayoutId id="2147483834" r:id="rId28"/>
    <p:sldLayoutId id="2147483835" r:id="rId29"/>
    <p:sldLayoutId id="2147483836" r:id="rId30"/>
    <p:sldLayoutId id="2147483837" r:id="rId31"/>
    <p:sldLayoutId id="2147483838" r:id="rId32"/>
    <p:sldLayoutId id="2147483839" r:id="rId33"/>
  </p:sldLayoutIdLst>
  <p:hf hdr="0" dt="0"/>
  <p:txStyles>
    <p:titleStyle>
      <a:lvl1pPr algn="l" defTabSz="1218866" rtl="0" eaLnBrk="1" latinLnBrk="0" hangingPunct="1">
        <a:lnSpc>
          <a:spcPct val="90000"/>
        </a:lnSpc>
        <a:spcBef>
          <a:spcPct val="0"/>
        </a:spcBef>
        <a:buNone/>
        <a:defRPr sz="3199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8866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4716" indent="-304716" algn="l" defTabSz="1218866" rtl="0" eaLnBrk="1" latinLnBrk="0" hangingPunct="1">
        <a:lnSpc>
          <a:spcPct val="100000"/>
        </a:lnSpc>
        <a:spcBef>
          <a:spcPts val="800"/>
        </a:spcBef>
        <a:buClrTx/>
        <a:buSzPct val="125000"/>
        <a:buFont typeface="Arial" panose="020B0604020202020204" pitchFamily="34" charset="0"/>
        <a:buChar char="•"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09433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149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18866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23582" indent="-304716" algn="l" defTabSz="1218866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828297" indent="-304716" algn="l" defTabSz="1218866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+mn-lt"/>
          <a:ea typeface="+mn-ea"/>
          <a:cs typeface="+mn-cs"/>
        </a:defRPr>
      </a:lvl7pPr>
      <a:lvl8pPr marL="2133013" indent="-304716" algn="l" defTabSz="1218866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8pPr>
      <a:lvl9pPr marL="2133013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33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6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7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9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2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5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7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9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30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17B5ED4-B674-4C32-9514-6C6A986BC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B68013F-8083-4869-B1B8-42E270F30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2EC2F54-FE71-419F-B3E9-62861D2AA5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accent6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663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  <p:sldLayoutId id="2147483853" r:id="rId12"/>
    <p:sldLayoutId id="2147483854" r:id="rId13"/>
    <p:sldLayoutId id="2147483855" r:id="rId14"/>
    <p:sldLayoutId id="2147483856" r:id="rId15"/>
    <p:sldLayoutId id="2147483857" r:id="rId16"/>
    <p:sldLayoutId id="2147483858" r:id="rId17"/>
    <p:sldLayoutId id="2147483859" r:id="rId18"/>
    <p:sldLayoutId id="2147483860" r:id="rId19"/>
    <p:sldLayoutId id="2147483861" r:id="rId20"/>
    <p:sldLayoutId id="2147483862" r:id="rId21"/>
    <p:sldLayoutId id="2147483863" r:id="rId22"/>
    <p:sldLayoutId id="2147483864" r:id="rId23"/>
    <p:sldLayoutId id="2147483865" r:id="rId24"/>
    <p:sldLayoutId id="2147483866" r:id="rId25"/>
    <p:sldLayoutId id="2147483867" r:id="rId26"/>
    <p:sldLayoutId id="2147483868" r:id="rId27"/>
    <p:sldLayoutId id="2147483869" r:id="rId28"/>
    <p:sldLayoutId id="2147483870" r:id="rId29"/>
    <p:sldLayoutId id="2147483871" r:id="rId30"/>
    <p:sldLayoutId id="2147483872" r:id="rId31"/>
    <p:sldLayoutId id="2147483873" r:id="rId32"/>
  </p:sldLayoutIdLst>
  <p:hf hdr="0" dt="0"/>
  <p:txStyles>
    <p:titleStyle>
      <a:lvl1pPr algn="l" defTabSz="1218804" rtl="0" eaLnBrk="1" latinLnBrk="0" hangingPunct="1">
        <a:lnSpc>
          <a:spcPct val="90000"/>
        </a:lnSpc>
        <a:spcBef>
          <a:spcPct val="0"/>
        </a:spcBef>
        <a:buNone/>
        <a:defRPr sz="3199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8804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4701" indent="-304701" algn="l" defTabSz="1218804" rtl="0" eaLnBrk="1" latinLnBrk="0" hangingPunct="1">
        <a:lnSpc>
          <a:spcPct val="100000"/>
        </a:lnSpc>
        <a:spcBef>
          <a:spcPts val="800"/>
        </a:spcBef>
        <a:buClrTx/>
        <a:buSzPct val="125000"/>
        <a:buFont typeface="Arial" panose="020B0604020202020204" pitchFamily="34" charset="0"/>
        <a:buChar char="•"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09402" indent="-304701" algn="l" defTabSz="1218804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2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103" indent="-304701" algn="l" defTabSz="1218804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Courier New" panose="02070309020205020404" pitchFamily="49" charset="0"/>
        <a:buChar char="o"/>
        <a:defRPr sz="2132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18804" indent="-304701" algn="l" defTabSz="1218804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2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23505" indent="-304701" algn="l" defTabSz="1218804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2132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828205" indent="-304701" algn="l" defTabSz="1218804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2132" kern="1200">
          <a:solidFill>
            <a:schemeClr val="tx2"/>
          </a:solidFill>
          <a:latin typeface="+mn-lt"/>
          <a:ea typeface="+mn-ea"/>
          <a:cs typeface="+mn-cs"/>
        </a:defRPr>
      </a:lvl7pPr>
      <a:lvl8pPr marL="2132907" indent="-304701" algn="l" defTabSz="1218804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2132" kern="1200">
          <a:solidFill>
            <a:schemeClr val="tx2"/>
          </a:solidFill>
          <a:latin typeface="+mn-lt"/>
          <a:ea typeface="+mn-ea"/>
          <a:cs typeface="+mn-cs"/>
        </a:defRPr>
      </a:lvl8pPr>
      <a:lvl9pPr marL="2132907" indent="-304701" algn="l" defTabSz="1218804" rtl="0" eaLnBrk="1" latinLnBrk="0" hangingPunct="1">
        <a:lnSpc>
          <a:spcPct val="100000"/>
        </a:lnSpc>
        <a:spcBef>
          <a:spcPts val="533"/>
        </a:spcBef>
        <a:buClrTx/>
        <a:buSzPct val="90000"/>
        <a:buFont typeface="Courier New" panose="02070309020205020404" pitchFamily="49" charset="0"/>
        <a:buChar char="o"/>
        <a:defRPr sz="2132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0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04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0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07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01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41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813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21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82804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30" y="1193800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17B5ED4-B674-4C32-9514-6C6A986BC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B68013F-8083-4869-B1B8-42E270F30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2EC2F54-FE71-419F-B3E9-62861D2AA5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2CCD4D3-3C75-9040-9FA7-6FCC27366374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CB083EF-DC6B-284B-9EDB-AE9B9CD7AD55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7583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1" r:id="rId7"/>
    <p:sldLayoutId id="2147483882" r:id="rId8"/>
    <p:sldLayoutId id="2147483883" r:id="rId9"/>
    <p:sldLayoutId id="2147483884" r:id="rId10"/>
    <p:sldLayoutId id="2147483885" r:id="rId11"/>
    <p:sldLayoutId id="2147483886" r:id="rId12"/>
    <p:sldLayoutId id="2147483887" r:id="rId13"/>
    <p:sldLayoutId id="2147483888" r:id="rId14"/>
    <p:sldLayoutId id="2147483889" r:id="rId15"/>
    <p:sldLayoutId id="2147483890" r:id="rId16"/>
    <p:sldLayoutId id="2147483891" r:id="rId17"/>
    <p:sldLayoutId id="2147483892" r:id="rId18"/>
  </p:sldLayoutIdLst>
  <p:hf hdr="0" dt="0"/>
  <p:txStyles>
    <p:titleStyle>
      <a:lvl1pPr algn="l" defTabSz="1218866" rtl="0" eaLnBrk="1" latinLnBrk="0" hangingPunct="1">
        <a:lnSpc>
          <a:spcPct val="100000"/>
        </a:lnSpc>
        <a:spcBef>
          <a:spcPct val="0"/>
        </a:spcBef>
        <a:buNone/>
        <a:defRPr sz="2666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8866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399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4716" indent="-304716" algn="l" defTabSz="1218866" rtl="0" eaLnBrk="1" latinLnBrk="0" hangingPunct="1">
        <a:lnSpc>
          <a:spcPct val="100000"/>
        </a:lnSpc>
        <a:spcBef>
          <a:spcPts val="800"/>
        </a:spcBef>
        <a:buClrTx/>
        <a:buSzPct val="125000"/>
        <a:buFont typeface="Arial" panose="020B0604020202020204" pitchFamily="34" charset="0"/>
        <a:buChar char="•"/>
        <a:defRPr sz="2133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09433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1866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149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•"/>
        <a:defRPr sz="1600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18866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1400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23582" indent="-304716" algn="l" defTabSz="1218866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828297" indent="-304716" algn="l" defTabSz="1218866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+mn-lt"/>
          <a:ea typeface="+mn-ea"/>
          <a:cs typeface="+mn-cs"/>
        </a:defRPr>
      </a:lvl7pPr>
      <a:lvl8pPr marL="2133013" indent="-304716" algn="l" defTabSz="1218866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8pPr>
      <a:lvl9pPr marL="2133013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33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6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7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9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2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5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7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9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64">
          <p15:clr>
            <a:srgbClr val="F26B43"/>
          </p15:clr>
        </p15:guide>
        <p15:guide id="2" pos="240">
          <p15:clr>
            <a:srgbClr val="F26B43"/>
          </p15:clr>
        </p15:guide>
        <p15:guide id="3" pos="5544">
          <p15:clr>
            <a:srgbClr val="F26B43"/>
          </p15:clr>
        </p15:guide>
        <p15:guide id="4" orient="horz" pos="301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30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17B5ED4-B674-4C32-9514-6C6A986BC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6F1A16AF-BCDD-455E-B562-E3F4E5EC6AC7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t>7/11/2024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B68013F-8083-4869-B1B8-42E270F30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>
                <a:solidFill>
                  <a:srgbClr val="000000">
                    <a:tint val="75000"/>
                  </a:srgbClr>
                </a:solidFill>
              </a:rPr>
              <a:t>© 2019 Cognizant</a:t>
            </a: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2EC2F54-FE71-419F-B3E9-62861D2AA5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accent6"/>
                </a:solidFill>
                <a:latin typeface="Arial" panose="020B0604020202020204" pitchFamily="34" charset="0"/>
              </a:defRPr>
            </a:lvl1pPr>
          </a:lstStyle>
          <a:p>
            <a:fld id="{393A516D-0578-BA43-A930-A25C5F9D0BF0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CEFF5AB-0470-924E-BDF3-B748DA4E248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08809" y="6357383"/>
            <a:ext cx="127783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800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  <p:sldLayoutId id="2147483897" r:id="rId4"/>
    <p:sldLayoutId id="2147483898" r:id="rId5"/>
    <p:sldLayoutId id="2147483899" r:id="rId6"/>
  </p:sldLayoutIdLst>
  <p:hf hdr="0" dt="0"/>
  <p:txStyles>
    <p:titleStyle>
      <a:lvl1pPr algn="l" defTabSz="1218804" rtl="0" eaLnBrk="1" latinLnBrk="0" hangingPunct="1">
        <a:lnSpc>
          <a:spcPct val="90000"/>
        </a:lnSpc>
        <a:spcBef>
          <a:spcPct val="0"/>
        </a:spcBef>
        <a:buNone/>
        <a:defRPr sz="3199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8804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4701" indent="-304701" algn="l" defTabSz="1218804" rtl="0" eaLnBrk="1" latinLnBrk="0" hangingPunct="1">
        <a:lnSpc>
          <a:spcPct val="100000"/>
        </a:lnSpc>
        <a:spcBef>
          <a:spcPts val="800"/>
        </a:spcBef>
        <a:buClrTx/>
        <a:buSzPct val="125000"/>
        <a:buFont typeface="Arial" panose="020B0604020202020204" pitchFamily="34" charset="0"/>
        <a:buChar char="•"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09402" indent="-304701" algn="l" defTabSz="1218804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2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103" indent="-304701" algn="l" defTabSz="1218804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Courier New" panose="02070309020205020404" pitchFamily="49" charset="0"/>
        <a:buChar char="o"/>
        <a:defRPr sz="2132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18804" indent="-304701" algn="l" defTabSz="1218804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2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23505" indent="-304701" algn="l" defTabSz="1218804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2132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828205" indent="-304701" algn="l" defTabSz="1218804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2132" kern="1200">
          <a:solidFill>
            <a:schemeClr val="tx2"/>
          </a:solidFill>
          <a:latin typeface="+mn-lt"/>
          <a:ea typeface="+mn-ea"/>
          <a:cs typeface="+mn-cs"/>
        </a:defRPr>
      </a:lvl7pPr>
      <a:lvl8pPr marL="2132907" indent="-304701" algn="l" defTabSz="1218804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2132" kern="1200">
          <a:solidFill>
            <a:schemeClr val="tx2"/>
          </a:solidFill>
          <a:latin typeface="+mn-lt"/>
          <a:ea typeface="+mn-ea"/>
          <a:cs typeface="+mn-cs"/>
        </a:defRPr>
      </a:lvl8pPr>
      <a:lvl9pPr marL="2132907" indent="-304701" algn="l" defTabSz="1218804" rtl="0" eaLnBrk="1" latinLnBrk="0" hangingPunct="1">
        <a:lnSpc>
          <a:spcPct val="100000"/>
        </a:lnSpc>
        <a:spcBef>
          <a:spcPts val="533"/>
        </a:spcBef>
        <a:buClrTx/>
        <a:buSzPct val="90000"/>
        <a:buFont typeface="Courier New" panose="02070309020205020404" pitchFamily="49" charset="0"/>
        <a:buChar char="o"/>
        <a:defRPr sz="2132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0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04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0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07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01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41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813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21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C2F31-AB87-415E-830F-2863A197FC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ilippines Organizational Chart</a:t>
            </a:r>
            <a:endParaRPr lang="en-PH" dirty="0">
              <a:highlight>
                <a:srgbClr val="FFFF00"/>
              </a:highlight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D9C9A7-250D-4803-B23C-BA183F6F5C56}"/>
              </a:ext>
            </a:extLst>
          </p:cNvPr>
          <p:cNvSpPr/>
          <p:nvPr/>
        </p:nvSpPr>
        <p:spPr>
          <a:xfrm>
            <a:off x="4791194" y="1046546"/>
            <a:ext cx="2899385" cy="4763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/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200" b="1" kern="1200" dirty="0">
                <a:solidFill>
                  <a:sysClr val="windowText" lastClr="000000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APAC Head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AD09DC0-0CA6-4122-9CA2-D67AF0BEA87B}"/>
              </a:ext>
            </a:extLst>
          </p:cNvPr>
          <p:cNvSpPr/>
          <p:nvPr/>
        </p:nvSpPr>
        <p:spPr>
          <a:xfrm>
            <a:off x="4791193" y="1727332"/>
            <a:ext cx="2899385" cy="4763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/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200" b="1" kern="1200" dirty="0">
                <a:solidFill>
                  <a:sysClr val="windowText" lastClr="000000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Country Head</a:t>
            </a:r>
            <a:endParaRPr lang="en-US" sz="1200" kern="1200" dirty="0">
              <a:solidFill>
                <a:sysClr val="windowText" lastClr="000000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99BE5F-DDCE-4A3F-94BD-70A8BA301188}"/>
              </a:ext>
            </a:extLst>
          </p:cNvPr>
          <p:cNvSpPr/>
          <p:nvPr/>
        </p:nvSpPr>
        <p:spPr>
          <a:xfrm>
            <a:off x="2561472" y="2362039"/>
            <a:ext cx="1626320" cy="846084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/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000" kern="1200" dirty="0">
              <a:solidFill>
                <a:prstClr val="white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b="1" kern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Estrellita Leonor Gallito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Global Mobility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000" kern="1200" dirty="0">
              <a:solidFill>
                <a:prstClr val="white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FCCF579-0A45-4F4F-BF70-AE90E93AC853}"/>
              </a:ext>
            </a:extLst>
          </p:cNvPr>
          <p:cNvGrpSpPr/>
          <p:nvPr/>
        </p:nvGrpSpPr>
        <p:grpSpPr>
          <a:xfrm>
            <a:off x="5513273" y="5507834"/>
            <a:ext cx="6236866" cy="352449"/>
            <a:chOff x="4982372" y="5733984"/>
            <a:chExt cx="7093514" cy="35254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737621E-49E9-4813-A6E1-D021EF4348BF}"/>
                </a:ext>
              </a:extLst>
            </p:cNvPr>
            <p:cNvSpPr/>
            <p:nvPr/>
          </p:nvSpPr>
          <p:spPr>
            <a:xfrm>
              <a:off x="8955299" y="5800804"/>
              <a:ext cx="320492" cy="2189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buClrTx/>
                <a:defRPr/>
              </a:pPr>
              <a:endParaRPr lang="en-US" sz="1200" kern="120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30B17B1-59C7-419F-AD7D-C27CEDD43EBE}"/>
                </a:ext>
              </a:extLst>
            </p:cNvPr>
            <p:cNvSpPr txBox="1"/>
            <p:nvPr/>
          </p:nvSpPr>
          <p:spPr>
            <a:xfrm>
              <a:off x="9249779" y="5771755"/>
              <a:ext cx="252677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126">
                <a:buClrTx/>
                <a:defRPr/>
              </a:pPr>
              <a:r>
                <a:rPr lang="en-US" sz="1200" kern="1200" dirty="0">
                  <a:solidFill>
                    <a:srgbClr val="0033A0">
                      <a:lumMod val="95000"/>
                      <a:lumOff val="5000"/>
                    </a:srgbClr>
                  </a:solidFill>
                  <a:ea typeface="+mn-ea"/>
                  <a:cs typeface="+mn-cs"/>
                </a:rPr>
                <a:t>Vertical/Tower Delivery Head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F456294-C8C6-438E-9247-4A494F47A562}"/>
                </a:ext>
              </a:extLst>
            </p:cNvPr>
            <p:cNvSpPr/>
            <p:nvPr/>
          </p:nvSpPr>
          <p:spPr>
            <a:xfrm>
              <a:off x="4982372" y="5733984"/>
              <a:ext cx="7093514" cy="352541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buClrTx/>
                <a:defRPr/>
              </a:pPr>
              <a:endParaRPr lang="en-US" sz="1200" kern="120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2152F7E-993F-489F-AB16-2D52B11B611B}"/>
                </a:ext>
              </a:extLst>
            </p:cNvPr>
            <p:cNvSpPr/>
            <p:nvPr/>
          </p:nvSpPr>
          <p:spPr>
            <a:xfrm>
              <a:off x="5069077" y="5800804"/>
              <a:ext cx="320492" cy="2189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rIns="0" rtlCol="0" anchor="ctr"/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200" b="1" kern="1200" dirty="0">
                <a:solidFill>
                  <a:srgbClr val="0033A0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FE4CE56-DC48-4233-A239-61415E0B6FDC}"/>
                </a:ext>
              </a:extLst>
            </p:cNvPr>
            <p:cNvSpPr txBox="1"/>
            <p:nvPr/>
          </p:nvSpPr>
          <p:spPr>
            <a:xfrm>
              <a:off x="5392589" y="5771755"/>
              <a:ext cx="292398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126">
                <a:buClrTx/>
                <a:defRPr/>
              </a:pPr>
              <a:r>
                <a:rPr lang="en-US" sz="1200" kern="1200" dirty="0">
                  <a:solidFill>
                    <a:srgbClr val="0033A0">
                      <a:lumMod val="95000"/>
                      <a:lumOff val="5000"/>
                    </a:srgbClr>
                  </a:solidFill>
                  <a:ea typeface="+mn-ea"/>
                  <a:cs typeface="+mn-cs"/>
                </a:rPr>
                <a:t>Corporate/Delivery Support Heads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F1BC722B-4C4E-46DE-B6CF-7A8E770AD579}"/>
              </a:ext>
            </a:extLst>
          </p:cNvPr>
          <p:cNvSpPr/>
          <p:nvPr/>
        </p:nvSpPr>
        <p:spPr>
          <a:xfrm>
            <a:off x="6323801" y="3428999"/>
            <a:ext cx="4860754" cy="1148365"/>
          </a:xfrm>
          <a:prstGeom prst="rect">
            <a:avLst/>
          </a:prstGeom>
          <a:solidFill>
            <a:srgbClr val="00B050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/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Complete Passport Name (Given Name, Last Name) – 14 Arial Bold Size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Complete Position or Title as per HCM / </a:t>
            </a:r>
            <a:r>
              <a:rPr lang="en-US" sz="1000" kern="120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LMT title </a:t>
            </a:r>
            <a:r>
              <a:rPr lang="en-US" sz="1000" kern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– 12 Arial Bold Size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Account / Project Complete Name – 10 Arial Size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(Account Name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21B30A7-7AB6-4972-BA9D-CE41CBD94F7D}"/>
              </a:ext>
            </a:extLst>
          </p:cNvPr>
          <p:cNvSpPr/>
          <p:nvPr/>
        </p:nvSpPr>
        <p:spPr>
          <a:xfrm>
            <a:off x="6323799" y="4827048"/>
            <a:ext cx="4860754" cy="498643"/>
          </a:xfrm>
          <a:prstGeom prst="rect">
            <a:avLst/>
          </a:prstGeom>
          <a:solidFill>
            <a:srgbClr val="00B050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/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000" kern="1200" dirty="0">
              <a:solidFill>
                <a:prstClr val="white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srgbClr val="FF0000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Lower Management </a:t>
            </a:r>
            <a:r>
              <a:rPr lang="en-US" sz="1000" kern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Complete Position or Title as per Contract – 12 Arial Bold Size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Account / Project Complete Name – 10 Arial Size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000" kern="1200" dirty="0">
              <a:solidFill>
                <a:prstClr val="white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000" kern="1200" dirty="0">
              <a:solidFill>
                <a:prstClr val="white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977C270-D08D-4836-A1B4-CEE6FECC107D}"/>
              </a:ext>
            </a:extLst>
          </p:cNvPr>
          <p:cNvCxnSpPr>
            <a:cxnSpLocks/>
          </p:cNvCxnSpPr>
          <p:nvPr/>
        </p:nvCxnSpPr>
        <p:spPr>
          <a:xfrm flipV="1">
            <a:off x="8867889" y="4644168"/>
            <a:ext cx="0" cy="1828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527AD79C-329A-5D78-E270-5E79D0EA4598}"/>
              </a:ext>
            </a:extLst>
          </p:cNvPr>
          <p:cNvSpPr/>
          <p:nvPr/>
        </p:nvSpPr>
        <p:spPr>
          <a:xfrm>
            <a:off x="6323799" y="2498529"/>
            <a:ext cx="4860754" cy="597112"/>
          </a:xfrm>
          <a:prstGeom prst="rect">
            <a:avLst/>
          </a:prstGeom>
          <a:solidFill>
            <a:srgbClr val="00B050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/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000" kern="1200" dirty="0">
              <a:solidFill>
                <a:prstClr val="white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srgbClr val="FF0000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Upper Management </a:t>
            </a:r>
            <a:r>
              <a:rPr lang="en-US" sz="1000" kern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Complete Position or Title as per Contract – 12 Arial Bold Size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Account / Project Complete Name – 10 Arial Size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000" kern="1200" dirty="0">
              <a:solidFill>
                <a:prstClr val="white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000" kern="1200" dirty="0">
              <a:solidFill>
                <a:prstClr val="white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A3E3FBF-6FFD-9BA0-A8A8-9C9F811D1FA6}"/>
              </a:ext>
            </a:extLst>
          </p:cNvPr>
          <p:cNvCxnSpPr>
            <a:cxnSpLocks/>
          </p:cNvCxnSpPr>
          <p:nvPr/>
        </p:nvCxnSpPr>
        <p:spPr>
          <a:xfrm flipV="1">
            <a:off x="8840431" y="3124683"/>
            <a:ext cx="0" cy="1828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66312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bRtboKRGSPR7y3VYAI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bRtboKRGSPR7y3VYAIsA"/>
</p:tagLst>
</file>

<file path=ppt/theme/theme1.xml><?xml version="1.0" encoding="utf-8"?>
<a:theme xmlns:a="http://schemas.openxmlformats.org/drawingml/2006/main" name="Cognizant">
  <a:themeElements>
    <a:clrScheme name="Cognizant 180722">
      <a:dk1>
        <a:srgbClr val="0033A0"/>
      </a:dk1>
      <a:lt1>
        <a:srgbClr val="FFFFFF"/>
      </a:lt1>
      <a:dk2>
        <a:srgbClr val="000000"/>
      </a:dk2>
      <a:lt2>
        <a:srgbClr val="FFFFFF"/>
      </a:lt2>
      <a:accent1>
        <a:srgbClr val="0033B4"/>
      </a:accent1>
      <a:accent2>
        <a:srgbClr val="00195A"/>
      </a:accent2>
      <a:accent3>
        <a:srgbClr val="3871FF"/>
      </a:accent3>
      <a:accent4>
        <a:srgbClr val="7BA0FF"/>
      </a:accent4>
      <a:accent5>
        <a:srgbClr val="BDCFFF"/>
      </a:accent5>
      <a:accent6>
        <a:srgbClr val="00B140"/>
      </a:accent6>
      <a:hlink>
        <a:srgbClr val="0033B4"/>
      </a:hlink>
      <a:folHlink>
        <a:srgbClr val="7BA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g_PPT_16x9_v04-06" id="{07F9BE1E-0522-42D8-9333-DC19B728C440}" vid="{5949420C-BBAE-4883-A571-88D4306A1FAE}"/>
    </a:ext>
  </a:extLst>
</a:theme>
</file>

<file path=ppt/theme/theme10.xml><?xml version="1.0" encoding="utf-8"?>
<a:theme xmlns:a="http://schemas.openxmlformats.org/drawingml/2006/main" name="6_Cognizant">
  <a:themeElements>
    <a:clrScheme name="Cognizant 180722">
      <a:dk1>
        <a:srgbClr val="0033A0"/>
      </a:dk1>
      <a:lt1>
        <a:srgbClr val="FFFFFF"/>
      </a:lt1>
      <a:dk2>
        <a:srgbClr val="000000"/>
      </a:dk2>
      <a:lt2>
        <a:srgbClr val="FFFFFF"/>
      </a:lt2>
      <a:accent1>
        <a:srgbClr val="0033B4"/>
      </a:accent1>
      <a:accent2>
        <a:srgbClr val="00195A"/>
      </a:accent2>
      <a:accent3>
        <a:srgbClr val="3871FF"/>
      </a:accent3>
      <a:accent4>
        <a:srgbClr val="7BA0FF"/>
      </a:accent4>
      <a:accent5>
        <a:srgbClr val="BDCFFF"/>
      </a:accent5>
      <a:accent6>
        <a:srgbClr val="00B140"/>
      </a:accent6>
      <a:hlink>
        <a:srgbClr val="0033B4"/>
      </a:hlink>
      <a:folHlink>
        <a:srgbClr val="7BA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3FEB6863-95DF-4174-BDAE-0C67A64AF232}" vid="{C160C555-C30F-4E80-84FF-D8518884C10E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gnizantnewbrand">
  <a:themeElements>
    <a:clrScheme name="Custom 1">
      <a:dk1>
        <a:srgbClr val="0033A0"/>
      </a:dk1>
      <a:lt1>
        <a:srgbClr val="FFFFFF"/>
      </a:lt1>
      <a:dk2>
        <a:srgbClr val="000000"/>
      </a:dk2>
      <a:lt2>
        <a:srgbClr val="FFFFFF"/>
      </a:lt2>
      <a:accent1>
        <a:srgbClr val="002F6C"/>
      </a:accent1>
      <a:accent2>
        <a:srgbClr val="2C67FF"/>
      </a:accent2>
      <a:accent3>
        <a:srgbClr val="328DFF"/>
      </a:accent3>
      <a:accent4>
        <a:srgbClr val="01A685"/>
      </a:accent4>
      <a:accent5>
        <a:srgbClr val="666666"/>
      </a:accent5>
      <a:accent6>
        <a:srgbClr val="B1B1B1"/>
      </a:accent6>
      <a:hlink>
        <a:srgbClr val="0033B4"/>
      </a:hlink>
      <a:folHlink>
        <a:srgbClr val="7BA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gnizantnewbrand" id="{34464321-73E4-410E-B743-CF8D3DC5F44C}" vid="{66CDC2FA-A042-42D3-A5C3-2B3348401B6A}"/>
    </a:ext>
  </a:extLst>
</a:theme>
</file>

<file path=ppt/theme/theme3.xml><?xml version="1.0" encoding="utf-8"?>
<a:theme xmlns:a="http://schemas.openxmlformats.org/drawingml/2006/main" name="2019 Blue Graphic">
  <a:themeElements>
    <a:clrScheme name="Cognizant 180722">
      <a:dk1>
        <a:srgbClr val="0033A0"/>
      </a:dk1>
      <a:lt1>
        <a:srgbClr val="FFFFFF"/>
      </a:lt1>
      <a:dk2>
        <a:srgbClr val="000000"/>
      </a:dk2>
      <a:lt2>
        <a:srgbClr val="FFFFFF"/>
      </a:lt2>
      <a:accent1>
        <a:srgbClr val="0033B4"/>
      </a:accent1>
      <a:accent2>
        <a:srgbClr val="00195A"/>
      </a:accent2>
      <a:accent3>
        <a:srgbClr val="3871FF"/>
      </a:accent3>
      <a:accent4>
        <a:srgbClr val="7BA0FF"/>
      </a:accent4>
      <a:accent5>
        <a:srgbClr val="BDCFFF"/>
      </a:accent5>
      <a:accent6>
        <a:srgbClr val="00B140"/>
      </a:accent6>
      <a:hlink>
        <a:srgbClr val="0033B4"/>
      </a:hlink>
      <a:folHlink>
        <a:srgbClr val="7BA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9 Blue Graphic" id="{237C3CF6-B56F-4748-83E4-B003688D7FD4}" vid="{AD785CA6-9441-41B5-A820-18D74AFAA729}"/>
    </a:ext>
  </a:extLst>
</a:theme>
</file>

<file path=ppt/theme/theme4.xml><?xml version="1.0" encoding="utf-8"?>
<a:theme xmlns:a="http://schemas.openxmlformats.org/drawingml/2006/main" name="1_Cognizant">
  <a:themeElements>
    <a:clrScheme name="Cognizant 180722">
      <a:dk1>
        <a:srgbClr val="0033A0"/>
      </a:dk1>
      <a:lt1>
        <a:srgbClr val="FFFFFF"/>
      </a:lt1>
      <a:dk2>
        <a:srgbClr val="000000"/>
      </a:dk2>
      <a:lt2>
        <a:srgbClr val="FFFFFF"/>
      </a:lt2>
      <a:accent1>
        <a:srgbClr val="0033B4"/>
      </a:accent1>
      <a:accent2>
        <a:srgbClr val="00195A"/>
      </a:accent2>
      <a:accent3>
        <a:srgbClr val="3871FF"/>
      </a:accent3>
      <a:accent4>
        <a:srgbClr val="7BA0FF"/>
      </a:accent4>
      <a:accent5>
        <a:srgbClr val="BDCFFF"/>
      </a:accent5>
      <a:accent6>
        <a:srgbClr val="00B140"/>
      </a:accent6>
      <a:hlink>
        <a:srgbClr val="0033B4"/>
      </a:hlink>
      <a:folHlink>
        <a:srgbClr val="7BA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g_PPT_16x9_v04-06" id="{07F9BE1E-0522-42D8-9333-DC19B728C440}" vid="{5949420C-BBAE-4883-A571-88D4306A1FAE}"/>
    </a:ext>
  </a:extLst>
</a:theme>
</file>

<file path=ppt/theme/theme5.xml><?xml version="1.0" encoding="utf-8"?>
<a:theme xmlns:a="http://schemas.openxmlformats.org/drawingml/2006/main" name="2_Cognizant">
  <a:themeElements>
    <a:clrScheme name="Cognizant 180722">
      <a:dk1>
        <a:srgbClr val="0033A0"/>
      </a:dk1>
      <a:lt1>
        <a:srgbClr val="FFFFFF"/>
      </a:lt1>
      <a:dk2>
        <a:srgbClr val="000000"/>
      </a:dk2>
      <a:lt2>
        <a:srgbClr val="FFFFFF"/>
      </a:lt2>
      <a:accent1>
        <a:srgbClr val="0033B4"/>
      </a:accent1>
      <a:accent2>
        <a:srgbClr val="00195A"/>
      </a:accent2>
      <a:accent3>
        <a:srgbClr val="3871FF"/>
      </a:accent3>
      <a:accent4>
        <a:srgbClr val="7BA0FF"/>
      </a:accent4>
      <a:accent5>
        <a:srgbClr val="BDCFFF"/>
      </a:accent5>
      <a:accent6>
        <a:srgbClr val="00B140"/>
      </a:accent6>
      <a:hlink>
        <a:srgbClr val="0033B4"/>
      </a:hlink>
      <a:folHlink>
        <a:srgbClr val="7BA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g_PPT_16x9_v04-06" id="{07F9BE1E-0522-42D8-9333-DC19B728C440}" vid="{5949420C-BBAE-4883-A571-88D4306A1FAE}"/>
    </a:ext>
  </a:extLst>
</a:theme>
</file>

<file path=ppt/theme/theme6.xml><?xml version="1.0" encoding="utf-8"?>
<a:theme xmlns:a="http://schemas.openxmlformats.org/drawingml/2006/main" name="3_Cognizant">
  <a:themeElements>
    <a:clrScheme name="Cognizant 180722">
      <a:dk1>
        <a:srgbClr val="0033A0"/>
      </a:dk1>
      <a:lt1>
        <a:srgbClr val="FFFFFF"/>
      </a:lt1>
      <a:dk2>
        <a:srgbClr val="000000"/>
      </a:dk2>
      <a:lt2>
        <a:srgbClr val="FFFFFF"/>
      </a:lt2>
      <a:accent1>
        <a:srgbClr val="0033B4"/>
      </a:accent1>
      <a:accent2>
        <a:srgbClr val="00195A"/>
      </a:accent2>
      <a:accent3>
        <a:srgbClr val="3871FF"/>
      </a:accent3>
      <a:accent4>
        <a:srgbClr val="7BA0FF"/>
      </a:accent4>
      <a:accent5>
        <a:srgbClr val="BDCFFF"/>
      </a:accent5>
      <a:accent6>
        <a:srgbClr val="00B140"/>
      </a:accent6>
      <a:hlink>
        <a:srgbClr val="0033B4"/>
      </a:hlink>
      <a:folHlink>
        <a:srgbClr val="7BA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g_PPT_16x9_v04-06" id="{07F9BE1E-0522-42D8-9333-DC19B728C440}" vid="{5949420C-BBAE-4883-A571-88D4306A1FAE}"/>
    </a:ext>
  </a:extLst>
</a:theme>
</file>

<file path=ppt/theme/theme7.xml><?xml version="1.0" encoding="utf-8"?>
<a:theme xmlns:a="http://schemas.openxmlformats.org/drawingml/2006/main" name="4_Cognizant">
  <a:themeElements>
    <a:clrScheme name="Cognizant 180722">
      <a:dk1>
        <a:srgbClr val="0033A0"/>
      </a:dk1>
      <a:lt1>
        <a:srgbClr val="FFFFFF"/>
      </a:lt1>
      <a:dk2>
        <a:srgbClr val="000000"/>
      </a:dk2>
      <a:lt2>
        <a:srgbClr val="FFFFFF"/>
      </a:lt2>
      <a:accent1>
        <a:srgbClr val="0033B4"/>
      </a:accent1>
      <a:accent2>
        <a:srgbClr val="00195A"/>
      </a:accent2>
      <a:accent3>
        <a:srgbClr val="3871FF"/>
      </a:accent3>
      <a:accent4>
        <a:srgbClr val="7BA0FF"/>
      </a:accent4>
      <a:accent5>
        <a:srgbClr val="BDCFFF"/>
      </a:accent5>
      <a:accent6>
        <a:srgbClr val="00B140"/>
      </a:accent6>
      <a:hlink>
        <a:srgbClr val="0033B4"/>
      </a:hlink>
      <a:folHlink>
        <a:srgbClr val="7BA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g_PPT_16x9_v04-06" id="{07F9BE1E-0522-42D8-9333-DC19B728C440}" vid="{5949420C-BBAE-4883-A571-88D4306A1FAE}"/>
    </a:ext>
  </a:extLst>
</a:theme>
</file>

<file path=ppt/theme/theme8.xml><?xml version="1.0" encoding="utf-8"?>
<a:theme xmlns:a="http://schemas.openxmlformats.org/drawingml/2006/main" name="1_Cognizantnewbrand">
  <a:themeElements>
    <a:clrScheme name="Custom 1">
      <a:dk1>
        <a:srgbClr val="0033A0"/>
      </a:dk1>
      <a:lt1>
        <a:srgbClr val="FFFFFF"/>
      </a:lt1>
      <a:dk2>
        <a:srgbClr val="000000"/>
      </a:dk2>
      <a:lt2>
        <a:srgbClr val="FFFFFF"/>
      </a:lt2>
      <a:accent1>
        <a:srgbClr val="002F6C"/>
      </a:accent1>
      <a:accent2>
        <a:srgbClr val="2C67FF"/>
      </a:accent2>
      <a:accent3>
        <a:srgbClr val="328DFF"/>
      </a:accent3>
      <a:accent4>
        <a:srgbClr val="01A685"/>
      </a:accent4>
      <a:accent5>
        <a:srgbClr val="666666"/>
      </a:accent5>
      <a:accent6>
        <a:srgbClr val="B1B1B1"/>
      </a:accent6>
      <a:hlink>
        <a:srgbClr val="0033B4"/>
      </a:hlink>
      <a:folHlink>
        <a:srgbClr val="7BA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gnizantnewbrand" id="{34464321-73E4-410E-B743-CF8D3DC5F44C}" vid="{66CDC2FA-A042-42D3-A5C3-2B3348401B6A}"/>
    </a:ext>
  </a:extLst>
</a:theme>
</file>

<file path=ppt/theme/theme9.xml><?xml version="1.0" encoding="utf-8"?>
<a:theme xmlns:a="http://schemas.openxmlformats.org/drawingml/2006/main" name="5_Cognizant">
  <a:themeElements>
    <a:clrScheme name="CT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33A0"/>
      </a:accent1>
      <a:accent2>
        <a:srgbClr val="00B140"/>
      </a:accent2>
      <a:accent3>
        <a:srgbClr val="0070C0"/>
      </a:accent3>
      <a:accent4>
        <a:srgbClr val="7030A0"/>
      </a:accent4>
      <a:accent5>
        <a:srgbClr val="F57B17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g_PPT_16x9_180722-2 template [Read-Only]" id="{874B4C3B-8F88-4C5C-99C4-A8A75476249D}" vid="{EFDF58A2-E98D-43EE-BE41-BC9B0846D4B6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87</TotalTime>
  <Words>111</Words>
  <Application>Microsoft Office PowerPoint</Application>
  <PresentationFormat>Custom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5" baseType="lpstr">
      <vt:lpstr>Arial</vt:lpstr>
      <vt:lpstr>Calibri</vt:lpstr>
      <vt:lpstr>Courier New</vt:lpstr>
      <vt:lpstr>Cognizant</vt:lpstr>
      <vt:lpstr>Cognizantnewbrand</vt:lpstr>
      <vt:lpstr>2019 Blue Graphic</vt:lpstr>
      <vt:lpstr>1_Cognizant</vt:lpstr>
      <vt:lpstr>2_Cognizant</vt:lpstr>
      <vt:lpstr>3_Cognizant</vt:lpstr>
      <vt:lpstr>4_Cognizant</vt:lpstr>
      <vt:lpstr>1_Cognizantnewbrand</vt:lpstr>
      <vt:lpstr>5_Cognizant</vt:lpstr>
      <vt:lpstr>6_Cognizant</vt:lpstr>
      <vt:lpstr>think-cell Slide</vt:lpstr>
      <vt:lpstr>Philippines Organizational Char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9 Annual Performance Review</dc:title>
  <dc:creator>Sankaran, Aravind (Cognizant)</dc:creator>
  <cp:lastModifiedBy>Sankari M, Vidhya (Cognizant)</cp:lastModifiedBy>
  <cp:revision>88</cp:revision>
  <dcterms:created xsi:type="dcterms:W3CDTF">2015-06-03T10:15:59Z</dcterms:created>
  <dcterms:modified xsi:type="dcterms:W3CDTF">2024-07-11T07:11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D78146E0C751E4AAC6C666781C439B5</vt:lpwstr>
  </property>
</Properties>
</file>